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4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9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1.xml" ContentType="application/vnd.openxmlformats-officedocument.theme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olors6.xml" ContentType="application/vnd.ms-office.chartcolorstyle+xml"/>
  <Override PartName="/ppt/charts/style6.xml" ContentType="application/vnd.ms-office.chartstyle+xml"/>
  <Override PartName="/ppt/charts/chart6.xml" ContentType="application/vnd.openxmlformats-officedocument.drawingml.chart+xml"/>
  <Override PartName="/ppt/charts/chart4.xml" ContentType="application/vnd.openxmlformats-officedocument.drawingml.chart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charts/colors5.xml" ContentType="application/vnd.ms-office.chartcolorstyle+xml"/>
  <Override PartName="/ppt/charts/style5.xml" ContentType="application/vnd.ms-office.chartstyle+xml"/>
  <Override PartName="/ppt/charts/chart5.xml" ContentType="application/vnd.openxmlformats-officedocument.drawingml.chart+xml"/>
  <Override PartName="/ppt/charts/colors4.xml" ContentType="application/vnd.ms-office.chartcolorstyle+xml"/>
  <Override PartName="/ppt/charts/style4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2.xml" ContentType="application/vnd.openxmlformats-officedocument.them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36"/>
  </p:notesMasterIdLst>
  <p:sldIdLst>
    <p:sldId id="270" r:id="rId2"/>
    <p:sldId id="313" r:id="rId3"/>
    <p:sldId id="315" r:id="rId4"/>
    <p:sldId id="314" r:id="rId5"/>
    <p:sldId id="311" r:id="rId6"/>
    <p:sldId id="309" r:id="rId7"/>
    <p:sldId id="308" r:id="rId8"/>
    <p:sldId id="304" r:id="rId9"/>
    <p:sldId id="307" r:id="rId10"/>
    <p:sldId id="305" r:id="rId11"/>
    <p:sldId id="306" r:id="rId12"/>
    <p:sldId id="312" r:id="rId13"/>
    <p:sldId id="258" r:id="rId14"/>
    <p:sldId id="266" r:id="rId15"/>
    <p:sldId id="273" r:id="rId16"/>
    <p:sldId id="261" r:id="rId17"/>
    <p:sldId id="287" r:id="rId18"/>
    <p:sldId id="290" r:id="rId19"/>
    <p:sldId id="285" r:id="rId20"/>
    <p:sldId id="281" r:id="rId21"/>
    <p:sldId id="286" r:id="rId22"/>
    <p:sldId id="284" r:id="rId23"/>
    <p:sldId id="289" r:id="rId24"/>
    <p:sldId id="283" r:id="rId25"/>
    <p:sldId id="316" r:id="rId26"/>
    <p:sldId id="292" r:id="rId27"/>
    <p:sldId id="296" r:id="rId28"/>
    <p:sldId id="297" r:id="rId29"/>
    <p:sldId id="303" r:id="rId30"/>
    <p:sldId id="299" r:id="rId31"/>
    <p:sldId id="300" r:id="rId32"/>
    <p:sldId id="301" r:id="rId33"/>
    <p:sldId id="302" r:id="rId34"/>
    <p:sldId id="291" r:id="rId3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0E5D"/>
    <a:srgbClr val="2C0F64"/>
    <a:srgbClr val="47189C"/>
    <a:srgbClr val="280D59"/>
    <a:srgbClr val="1F0B46"/>
    <a:srgbClr val="F4F0FC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69" autoAdjust="0"/>
    <p:restoredTop sz="93548" autoAdjust="0"/>
  </p:normalViewPr>
  <p:slideViewPr>
    <p:cSldViewPr>
      <p:cViewPr varScale="1">
        <p:scale>
          <a:sx n="78" d="100"/>
          <a:sy n="78" d="100"/>
        </p:scale>
        <p:origin x="176" y="1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ustomXml" Target="../customXml/item3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inf-file-01\Directions\DD\P&#212;LE%20INGE%20ET%20DISPOSITIFS\DEVELOPPEMENT%20ALTERNANCE\3%20-%20Donn&#233;es\05%20-%20Donn&#233;es%202025\Support%20&#233;v&#232;nements%20Atlas\20250320%20-%20Bilan%20-%20Indicateurs%20Atlas%20de%20l'alternance%202025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/inf-file-01\Directions\DD\P&#212;LE%20INGE%20ET%20DISPOSITIFS\DEVELOPPEMENT%20ALTERNANCE\3%20-%20Donn&#233;es\05%20-%20Donn&#233;es%202025\Support%20&#233;v&#232;nements%20Atlas\20250320%20-%20Bilan%20-%20Indicateurs%20Atlas%20de%20l'alternance%202025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/inf-file-01\Directions\DD\P&#212;LE%20INGE%20ET%20DISPOSITIFS\DEVELOPPEMENT%20ALTERNANCE\3%20-%20Donn&#233;es\05%20-%20Donn&#233;es%202025\Support%20&#233;v&#232;nements%20Atlas\20250320%20-%20Bilan%20-%20Indicateurs%20Atlas%20de%20l'alternance%20202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Feuil1!$C$5</c:f>
              <c:strCache>
                <c:ptCount val="1"/>
                <c:pt idx="0">
                  <c:v>Contrats de professionnalisa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37-448B-A21F-DC1D4C30FBFF}"/>
              </c:ext>
            </c:extLst>
          </c:dPt>
          <c:cat>
            <c:strRef>
              <c:f>Feuil1!$D$4</c:f>
              <c:strCache>
                <c:ptCount val="1"/>
                <c:pt idx="0">
                  <c:v>Nb de contrats</c:v>
                </c:pt>
              </c:strCache>
            </c:strRef>
          </c:cat>
          <c:val>
            <c:numRef>
              <c:f>Feuil1!$D$5</c:f>
              <c:numCache>
                <c:formatCode>General</c:formatCode>
                <c:ptCount val="1"/>
                <c:pt idx="0">
                  <c:v>7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37-448B-A21F-DC1D4C30FBFF}"/>
            </c:ext>
          </c:extLst>
        </c:ser>
        <c:ser>
          <c:idx val="1"/>
          <c:order val="1"/>
          <c:tx>
            <c:strRef>
              <c:f>Feuil1!$C$6</c:f>
              <c:strCache>
                <c:ptCount val="1"/>
                <c:pt idx="0">
                  <c:v>Contrats d'apprentissag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D$4</c:f>
              <c:strCache>
                <c:ptCount val="1"/>
                <c:pt idx="0">
                  <c:v>Nb de contrats</c:v>
                </c:pt>
              </c:strCache>
            </c:strRef>
          </c:cat>
          <c:val>
            <c:numRef>
              <c:f>Feuil1!$D$6</c:f>
              <c:numCache>
                <c:formatCode>General</c:formatCode>
                <c:ptCount val="1"/>
                <c:pt idx="0">
                  <c:v>95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37-448B-A21F-DC1D4C30F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98922783"/>
        <c:axId val="1798923263"/>
      </c:barChart>
      <c:catAx>
        <c:axId val="17989227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98923263"/>
        <c:crosses val="autoZero"/>
        <c:auto val="1"/>
        <c:lblAlgn val="ctr"/>
        <c:lblOffset val="100"/>
        <c:noMultiLvlLbl val="0"/>
      </c:catAx>
      <c:valAx>
        <c:axId val="17989232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alpha val="11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Circular Pro Book Italic" panose="020B0604020101020102" pitchFamily="34" charset="77"/>
                <a:ea typeface="+mn-ea"/>
                <a:cs typeface="Circular Pro Book Italic" panose="020B0604020101020102" pitchFamily="34" charset="77"/>
              </a:defRPr>
            </a:pPr>
            <a:endParaRPr lang="fr-FR"/>
          </a:p>
        </c:txPr>
        <c:crossAx val="1798922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gradFill flip="none" rotWithShape="1">
                <a:gsLst>
                  <a:gs pos="0">
                    <a:schemeClr val="accent2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9050">
                <a:noFill/>
              </a:ln>
              <a:effectLst>
                <a:outerShdw blurRad="63500" sx="102000" sy="102000" algn="ctr" rotWithShape="0">
                  <a:schemeClr val="bg1">
                    <a:alpha val="12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952-4B44-A873-F05643B85ECC}"/>
              </c:ext>
            </c:extLst>
          </c:dPt>
          <c:dPt>
            <c:idx val="1"/>
            <c:bubble3D val="0"/>
            <c:spPr>
              <a:solidFill>
                <a:schemeClr val="bg1">
                  <a:alpha val="14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952-4B44-A873-F05643B85EC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4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52-4B44-A873-F05643B85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gradFill flip="none" rotWithShape="1">
                <a:gsLst>
                  <a:gs pos="0">
                    <a:schemeClr val="accent2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9050">
                <a:noFill/>
              </a:ln>
              <a:effectLst>
                <a:outerShdw blurRad="63500" sx="102000" sy="102000" algn="ctr" rotWithShape="0">
                  <a:schemeClr val="bg1">
                    <a:alpha val="12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952-4B44-A873-F05643B85ECC}"/>
              </c:ext>
            </c:extLst>
          </c:dPt>
          <c:dPt>
            <c:idx val="1"/>
            <c:bubble3D val="0"/>
            <c:spPr>
              <a:solidFill>
                <a:schemeClr val="bg1">
                  <a:alpha val="14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952-4B44-A873-F05643B85EC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6</c:v>
                </c:pt>
                <c:pt idx="1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52-4B44-A873-F05643B85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D$24</c:f>
              <c:strCache>
                <c:ptCount val="1"/>
                <c:pt idx="0">
                  <c:v>% des contrats 2024 par secteur</c:v>
                </c:pt>
              </c:strCache>
            </c:strRef>
          </c:tx>
          <c:spPr>
            <a:solidFill>
              <a:srgbClr val="9933FF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FD-4F37-9665-26091B6D2F51}"/>
              </c:ext>
            </c:extLst>
          </c:dPt>
          <c:dPt>
            <c:idx val="1"/>
            <c:bubble3D val="0"/>
            <c:spPr>
              <a:solidFill>
                <a:srgbClr val="2C0E6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FD-4F37-9665-26091B6D2F5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AFD-4F37-9665-26091B6D2F51}"/>
              </c:ext>
            </c:extLst>
          </c:dPt>
          <c:dPt>
            <c:idx val="3"/>
            <c:bubble3D val="0"/>
            <c:spPr>
              <a:noFill/>
              <a:ln w="3175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AFD-4F37-9665-26091B6D2F51}"/>
              </c:ext>
            </c:extLst>
          </c:dPt>
          <c:cat>
            <c:strRef>
              <c:f>Feuil1!$C$25:$C$28</c:f>
              <c:strCache>
                <c:ptCount val="4"/>
                <c:pt idx="0">
                  <c:v>Conseil</c:v>
                </c:pt>
                <c:pt idx="1">
                  <c:v>Experts comptables / Commissaires aux comptes </c:v>
                </c:pt>
                <c:pt idx="2">
                  <c:v>Banque et Finance</c:v>
                </c:pt>
                <c:pt idx="3">
                  <c:v>Assurance</c:v>
                </c:pt>
              </c:strCache>
            </c:strRef>
          </c:cat>
          <c:val>
            <c:numRef>
              <c:f>Feuil1!$D$25:$D$28</c:f>
              <c:numCache>
                <c:formatCode>0%</c:formatCode>
                <c:ptCount val="4"/>
                <c:pt idx="0">
                  <c:v>0.56000000000000005</c:v>
                </c:pt>
                <c:pt idx="1">
                  <c:v>0.16</c:v>
                </c:pt>
                <c:pt idx="2">
                  <c:v>0.16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FD-4F37-9665-26091B6D2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250320 - Bilan - Indicateurs Atlas de l'alternance 2025.xlsx]Niveau!Tableau croisé dynamique5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Niveau!$B$15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0">
                    <a:srgbClr val="EF5A61"/>
                  </a:gs>
                  <a:gs pos="100000">
                    <a:srgbClr val="EF5A61">
                      <a:lumMod val="75000"/>
                    </a:srgbClr>
                  </a:gs>
                </a:gsLst>
                <a:lin ang="54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1C-418A-B162-2D534A1958D9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1C-418A-B162-2D534A1958D9}"/>
              </c:ext>
            </c:extLst>
          </c:dPt>
          <c:dPt>
            <c:idx val="2"/>
            <c:bubble3D val="0"/>
            <c:spPr>
              <a:solidFill>
                <a:srgbClr val="8B3BC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1C-418A-B162-2D534A1958D9}"/>
              </c:ext>
            </c:extLst>
          </c:dPt>
          <c:dPt>
            <c:idx val="3"/>
            <c:bubble3D val="0"/>
            <c:explosion val="2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01C-418A-B162-2D534A1958D9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95000"/>
                </a:sys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01C-418A-B162-2D534A1958D9}"/>
              </c:ext>
            </c:extLst>
          </c:dPt>
          <c:dLbls>
            <c:delete val="1"/>
          </c:dLbls>
          <c:cat>
            <c:strRef>
              <c:f>Niveau!$A$16:$A$21</c:f>
              <c:strCache>
                <c:ptCount val="5"/>
                <c:pt idx="0">
                  <c:v>Infrabac/Bac</c:v>
                </c:pt>
                <c:pt idx="1">
                  <c:v>Bac +2</c:v>
                </c:pt>
                <c:pt idx="2">
                  <c:v>Bac +3</c:v>
                </c:pt>
                <c:pt idx="3">
                  <c:v>Bac +5 et plus</c:v>
                </c:pt>
                <c:pt idx="4">
                  <c:v>CQP &amp; CCN</c:v>
                </c:pt>
              </c:strCache>
            </c:strRef>
          </c:cat>
          <c:val>
            <c:numRef>
              <c:f>Niveau!$B$16:$B$21</c:f>
              <c:numCache>
                <c:formatCode>0%</c:formatCode>
                <c:ptCount val="5"/>
                <c:pt idx="0">
                  <c:v>1.1494476049938838E-2</c:v>
                </c:pt>
                <c:pt idx="1">
                  <c:v>0.14590412208997533</c:v>
                </c:pt>
                <c:pt idx="2">
                  <c:v>0.31373900549482553</c:v>
                </c:pt>
                <c:pt idx="3">
                  <c:v>0.50434926120808499</c:v>
                </c:pt>
                <c:pt idx="4">
                  <c:v>2.45131351571753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1C-418A-B162-2D534A1958D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4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250320 - Bilan - Indicateurs Atlas de l'alternance 2025.xlsx]Niveau!Tableau croisé dynamique5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Niveau!$B$15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1C-418A-B162-2D534A1958D9}"/>
              </c:ext>
            </c:extLst>
          </c:dPt>
          <c:dPt>
            <c:idx val="1"/>
            <c:bubble3D val="0"/>
            <c:spPr>
              <a:solidFill>
                <a:srgbClr val="7850D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1C-418A-B162-2D534A1958D9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1C-418A-B162-2D534A1958D9}"/>
              </c:ext>
            </c:extLst>
          </c:dPt>
          <c:dPt>
            <c:idx val="3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01C-418A-B162-2D534A1958D9}"/>
              </c:ext>
            </c:extLst>
          </c:dPt>
          <c:dPt>
            <c:idx val="4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01C-418A-B162-2D534A1958D9}"/>
              </c:ext>
            </c:extLst>
          </c:dPt>
          <c:dLbls>
            <c:delete val="1"/>
          </c:dLbls>
          <c:cat>
            <c:strRef>
              <c:f>Niveau!$A$16:$A$21</c:f>
              <c:strCache>
                <c:ptCount val="5"/>
                <c:pt idx="0">
                  <c:v>Infrabac/Bac</c:v>
                </c:pt>
                <c:pt idx="1">
                  <c:v>Bac +2</c:v>
                </c:pt>
                <c:pt idx="2">
                  <c:v>Bac +3</c:v>
                </c:pt>
                <c:pt idx="3">
                  <c:v>Bac +5 et plus</c:v>
                </c:pt>
                <c:pt idx="4">
                  <c:v>CQP &amp; CCN</c:v>
                </c:pt>
              </c:strCache>
            </c:strRef>
          </c:cat>
          <c:val>
            <c:numRef>
              <c:f>Niveau!$B$16:$B$21</c:f>
              <c:numCache>
                <c:formatCode>0%</c:formatCode>
                <c:ptCount val="5"/>
                <c:pt idx="0">
                  <c:v>1.1494476049938838E-2</c:v>
                </c:pt>
                <c:pt idx="1">
                  <c:v>0.14590412208997533</c:v>
                </c:pt>
                <c:pt idx="2">
                  <c:v>0.31373900549482553</c:v>
                </c:pt>
                <c:pt idx="3">
                  <c:v>0.50434926120808499</c:v>
                </c:pt>
                <c:pt idx="4">
                  <c:v>2.45131351571753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1C-418A-B162-2D534A1958D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4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250320 - Bilan - Indicateurs Atlas de l'alternance 2025.xlsx]Niveau!Tableau croisé dynamique5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out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7.540395825826865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C39BE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7030A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002060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EADCF4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9.7222222222222224E-2"/>
              <c:y val="4.6296296296296294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bestFit"/>
          <c:showLegendKey val="0"/>
          <c:showVal val="1"/>
          <c:showCatName val="1"/>
          <c:showSerName val="0"/>
          <c:showPercent val="0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Niveau!$B$15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1C-418A-B162-2D534A1958D9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1C-418A-B162-2D534A1958D9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7850DC">
                      <a:lumMod val="40000"/>
                      <a:lumOff val="60000"/>
                    </a:srgbClr>
                  </a:gs>
                  <a:gs pos="100000">
                    <a:srgbClr val="7850DC">
                      <a:lumMod val="20000"/>
                      <a:lumOff val="80000"/>
                    </a:srgbClr>
                  </a:gs>
                </a:gsLst>
                <a:lin ang="2700000" scaled="0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1C-418A-B162-2D534A1958D9}"/>
              </c:ext>
            </c:extLst>
          </c:dPt>
          <c:dPt>
            <c:idx val="3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01C-418A-B162-2D534A1958D9}"/>
              </c:ext>
            </c:extLst>
          </c:dPt>
          <c:dPt>
            <c:idx val="4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01C-418A-B162-2D534A1958D9}"/>
              </c:ext>
            </c:extLst>
          </c:dPt>
          <c:dLbls>
            <c:delete val="1"/>
          </c:dLbls>
          <c:cat>
            <c:strRef>
              <c:f>Niveau!$A$16:$A$21</c:f>
              <c:strCache>
                <c:ptCount val="5"/>
                <c:pt idx="0">
                  <c:v>Infrabac/Bac</c:v>
                </c:pt>
                <c:pt idx="1">
                  <c:v>Bac +2</c:v>
                </c:pt>
                <c:pt idx="2">
                  <c:v>Bac +3</c:v>
                </c:pt>
                <c:pt idx="3">
                  <c:v>Bac +5 et plus</c:v>
                </c:pt>
                <c:pt idx="4">
                  <c:v>CQP &amp; CCN</c:v>
                </c:pt>
              </c:strCache>
            </c:strRef>
          </c:cat>
          <c:val>
            <c:numRef>
              <c:f>Niveau!$B$16:$B$21</c:f>
              <c:numCache>
                <c:formatCode>0%</c:formatCode>
                <c:ptCount val="5"/>
                <c:pt idx="0">
                  <c:v>1.1494476049938838E-2</c:v>
                </c:pt>
                <c:pt idx="1">
                  <c:v>0.14590412208997533</c:v>
                </c:pt>
                <c:pt idx="2">
                  <c:v>0.31373900549482553</c:v>
                </c:pt>
                <c:pt idx="3">
                  <c:v>0.50434926120808499</c:v>
                </c:pt>
                <c:pt idx="4">
                  <c:v>2.45131351571753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1C-418A-B162-2D534A1958D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4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D36CC6-8EC9-4077-90C7-871E6336E975}" type="datetimeFigureOut">
              <a:rPr lang="en-US" smtClean="0"/>
              <a:t>3/26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DFFA6-50F6-488A-8DEA-1FF2B8A6C01E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932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790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34016-A890-134C-1AF4-B9057679C8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FA47F7-416F-71B2-F212-92F349F531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244C95-881B-8782-84CF-015ABE1310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379A2-305E-3DB6-44C4-650C771D6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36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A1108C-1789-CEE2-E8B9-A189E5390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5E61B2-E150-D65D-EBB2-BAB7B7A496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2D4420-68E1-94E6-0F67-8E152B1EA3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FD714F-F393-4AFA-14FA-F4B5EE29F8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6671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0D6A3-4CBF-B0D4-EF8F-868570807C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8FB0C0-BF2D-BAFA-D15C-5CAD2E5124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97421F-5408-570C-5A11-4CA693DE56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34E15-9829-EB7B-7F18-960136AB35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83891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601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E9F81-04F0-6A83-CB34-28F1EF39F5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945B3F-AB92-E72D-DEDE-9826F67013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8E8F98-9E99-A0D6-92F4-4CF99D7CF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5C7D98-FADF-1D76-9465-B29D19E058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6161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A1C69-6224-5175-880E-7D6E7298F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16945A-9B2F-FC77-D32E-AB62C92A6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F607E9-F4D1-95D4-CD99-4F40A1FE9B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801DB-4101-1AF3-5ECF-7AB999F444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8894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6E33D-C50D-2CD4-EF4A-D26A1939E5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292851-EE5A-1EA9-C3D0-948A905A57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509B73-B4EE-CE44-92BE-0F01B47DFC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CA70E-2480-C16B-3BC3-7B16EBAD18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2546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8007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CF5507-1FE6-BC85-C011-88F81B9089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182A35-4621-F92D-E7B1-7D4FE220BE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043FDA-9646-4938-F02A-B3D4D27074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DDADA8-48A3-7521-AA3D-5721E1FDA8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2545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AB258-875A-84CD-704E-D841428B77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EEE2FE-47A4-9156-FD0A-9EC42EB2D2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337DFE-1AE7-9CD9-3ACE-F327B44DF6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E5C643-3E81-8886-69D5-0469198FEA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015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BFDF2-5EF0-56A4-35BB-3CA9B11AD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05D763-B75A-7148-E3F3-AFF22DE341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F07BC5-0DF2-B571-A8D2-EE8AA240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3A5966-3B27-8248-5158-44DC879E79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6717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1400E-8394-E94C-DCDF-8FA3ADAFC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12970B-0693-9460-CC5B-5007E2916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A6DACE-3E53-31AF-179B-D0F8B94D32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A67D38-657C-4A92-7A77-B49A452D06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99033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7C181-4BBA-01AF-BCF9-8BF821994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FCB733-9363-F084-7269-9DAB5C2BF0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9F1ED3-1D2D-2CDC-924C-AD6F740F57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B9136-53AA-3CFC-06E9-CF90E47399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9028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37806-FF9E-6469-EB69-4613A7E1C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E7E0DE-30BE-2003-34A8-FE4CA8422F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A6153F-28E6-C203-6C29-B969A1B31D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2AD9B2-C48C-99AB-E5F1-77A6D09E1D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7369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70517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23756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fr-FR" smtClean="0"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9208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2D01F-D029-1811-1259-265AA6E1A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34449D-0027-5271-0B65-AAC8BE034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B47FF4-1BA5-5F71-50DE-C37EA54E0E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E97F3-8FC5-67F3-AC80-CCA875CF67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3593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>
                <a:ea typeface="Calibri"/>
                <a:cs typeface="Calibri"/>
              </a:rPr>
              <a:t>AnnoncesAtlas</a:t>
            </a:r>
            <a:r>
              <a:rPr lang="fr-FR" dirty="0">
                <a:ea typeface="Calibri"/>
                <a:cs typeface="Calibri"/>
              </a:rPr>
              <a:t> =&gt; </a:t>
            </a:r>
            <a:r>
              <a:rPr lang="fr-FR" dirty="0" err="1">
                <a:ea typeface="Calibri"/>
                <a:cs typeface="Calibri"/>
              </a:rPr>
              <a:t>visiotalents</a:t>
            </a:r>
            <a:r>
              <a:rPr lang="fr-FR" dirty="0">
                <a:ea typeface="Calibri"/>
                <a:cs typeface="Calibri"/>
              </a:rPr>
              <a:t> et </a:t>
            </a:r>
            <a:r>
              <a:rPr lang="fr-FR" dirty="0" err="1">
                <a:ea typeface="Calibri"/>
                <a:cs typeface="Calibri"/>
              </a:rPr>
              <a:t>genération</a:t>
            </a:r>
            <a:r>
              <a:rPr lang="fr-FR" dirty="0">
                <a:ea typeface="Calibri"/>
                <a:cs typeface="Calibri"/>
              </a:rPr>
              <a:t> de cv via IA</a:t>
            </a:r>
          </a:p>
          <a:p>
            <a:r>
              <a:rPr lang="fr-FR" dirty="0">
                <a:ea typeface="Calibri"/>
                <a:cs typeface="Calibri"/>
              </a:rPr>
              <a:t>Des </a:t>
            </a:r>
            <a:r>
              <a:rPr lang="fr-FR" dirty="0" err="1">
                <a:ea typeface="Calibri"/>
                <a:cs typeface="Calibri"/>
              </a:rPr>
              <a:t>jobdatings</a:t>
            </a:r>
            <a:r>
              <a:rPr lang="fr-FR" dirty="0">
                <a:ea typeface="Calibri"/>
                <a:cs typeface="Calibri"/>
              </a:rPr>
              <a:t> dans chaque région et prolongement 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fr-FR" smtClean="0"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70486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DFFA6-50F6-488A-8DEA-1FF2B8A6C01E}" type="slidenum">
              <a:rPr lang="fr-FR" smtClean="0"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92235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A1C69-6224-5175-880E-7D6E7298F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16945A-9B2F-FC77-D32E-AB62C92A6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F607E9-F4D1-95D4-CD99-4F40A1FE9B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801DB-4101-1AF3-5ECF-7AB999F444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889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B2698-02A9-FBE3-A83E-80FED0659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4C2C72-22C6-73AC-5267-CCC96447C3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342E5B-0B62-6727-78A2-883480B182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321D8-4E54-E9B1-AB9E-765B37B922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76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4964A5-C2DA-587E-5F17-75CF7B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3B2BB9-4D90-DFC8-67C0-922017E599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191B0F-D1E5-1872-A75F-E284CDC59A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E49E23-06C8-059C-0188-87F0F81EF6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2388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B6537-EC1A-99BB-28C8-F7555268D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32704-C502-5F31-CA38-E1349CA462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A674D0-98F8-D8C3-E170-384A517BFE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DFFB84-E81F-B4FD-8027-7B5F10C88A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52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E6CBE-FED4-8932-6E7D-84EC0252E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5FC08F-5A41-9AF3-EE0A-777296FA0D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62D0B8-FB4A-A9D5-AD16-7080B45ACA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6DF1CF-BBD1-55DC-27AA-AC580372E5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164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AE5E8-ABF3-7F67-66BD-9517572AB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6CAA4A-383A-1565-A068-01007DFA37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700720-6944-55D0-A80F-588B045B87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EC84FD-59AE-FA47-E61F-972DD3B800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2360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DD92-F4FD-0782-CAAE-A95A8CD91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6754C6-4D55-7056-6239-2797B2108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E79CD1-8911-3E2D-8DBE-8F1CD0F1BD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38D665-3F79-07E6-71A1-B4A5792FC4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6992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F6C21-781A-0B39-53FA-5752A6A61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EDC809-9BCF-D80B-D4E9-690AE1C47E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8648B5-55B5-E1B4-5407-3B5B549CB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030041-1B68-BEE0-2A40-6A6226F24F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DFFA6-50F6-488A-8DEA-1FF2B8A6C0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332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0380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044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sv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sv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20.sv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svg"/><Relationship Id="rId4" Type="http://schemas.openxmlformats.org/officeDocument/2006/relationships/image" Target="../media/image21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svg"/><Relationship Id="rId4" Type="http://schemas.openxmlformats.org/officeDocument/2006/relationships/image" Target="../media/image2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27.svg"/><Relationship Id="rId4" Type="http://schemas.openxmlformats.org/officeDocument/2006/relationships/image" Target="../media/image23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svg"/><Relationship Id="rId4" Type="http://schemas.openxmlformats.org/officeDocument/2006/relationships/image" Target="../media/image29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svg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34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svg"/><Relationship Id="rId5" Type="http://schemas.openxmlformats.org/officeDocument/2006/relationships/chart" Target="../charts/chart4.xml"/><Relationship Id="rId4" Type="http://schemas.openxmlformats.org/officeDocument/2006/relationships/image" Target="../media/image35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svg"/><Relationship Id="rId4" Type="http://schemas.openxmlformats.org/officeDocument/2006/relationships/image" Target="../media/image37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svg"/><Relationship Id="rId4" Type="http://schemas.openxmlformats.org/officeDocument/2006/relationships/image" Target="../media/image37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notesSlide" Target="../notesSlides/notesSlide26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2.sv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svg"/><Relationship Id="rId5" Type="http://schemas.openxmlformats.org/officeDocument/2006/relationships/image" Target="../media/image47.svg"/><Relationship Id="rId4" Type="http://schemas.openxmlformats.org/officeDocument/2006/relationships/image" Target="../media/image46.sv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06CEE8EB-8EA6-70D7-EA9B-47FAF929AB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300" y="1762793"/>
            <a:ext cx="3073400" cy="2203012"/>
          </a:xfrm>
          <a:prstGeom prst="rect">
            <a:avLst/>
          </a:prstGeom>
        </p:spPr>
      </p:pic>
      <p:sp>
        <p:nvSpPr>
          <p:cNvPr id="61" name="Arc 60">
            <a:extLst>
              <a:ext uri="{FF2B5EF4-FFF2-40B4-BE49-F238E27FC236}">
                <a16:creationId xmlns:a16="http://schemas.microsoft.com/office/drawing/2014/main" id="{0F67D213-80E0-11B5-1B34-A5D00A33D852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01C1B362-AE79-68F2-DE96-A43E0FE89E1B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9774FF95-84F3-C831-0FCF-FEB52F32EA9B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B3C40F4D-AB98-8300-D088-D6B67A58DA47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408E4730-522A-82CA-6299-3B14B7F60FC9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78755A3-6C51-5599-FC27-A1AF3433FA18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FA3F0FE0-AA13-5651-552E-36408B79C20A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D801A13-7B6E-48E7-6E11-29A982F671B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16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0346A0-B922-84B0-706E-BB7C479FC3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17161FE9-B2A9-76B1-5825-029F4FFA73AB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8B424D89-85B5-D4DA-0068-86EC97168C68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A44DE5B2-B421-9296-6969-9C55E5727A0B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5683F270-C610-4F98-0566-BF2C2C02C171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C244E797-8F60-73F1-C195-A1D2499F47EF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E5E07AE-3279-3750-E64F-FAA8C1DFC14A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FB6B403-5761-4336-445B-FB30B1488D26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D1F5AF1-5211-48A1-855D-8E23649CF0D8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C754E5D-FE8E-80BD-443F-A6D9997E063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798" y="817654"/>
            <a:ext cx="4025206" cy="402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35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4A3E3B7-EFA6-A7BC-3A31-80F35C24E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CA4B727D-E122-F861-154B-437A9AFCD7C2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962E27ED-8D6A-0828-F669-2D7DF20B1D30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1BC5B036-EB8E-2A56-94FA-543CC08C1901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0F9F0825-1132-F552-C2C3-BAD5E99871CF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C13D72DA-8BBC-A261-90C2-B1DC43A8083D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B1E268E-1BDE-A801-F69A-A63C1AB12CE9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BDC62BD-FF48-4DA5-F832-F7EC4B32703D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30CA32-6E12-9D34-18D7-ACCEBF61648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B91234A-EFCD-2351-4171-337928C3E5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654" y="804092"/>
            <a:ext cx="4176464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58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91A8E6D-9CE5-BB49-8950-856F7C19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F048A530-3663-4837-F718-F4CFA099FF0D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F63BF928-EB04-BD5C-F1C7-1D99B119AED2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3EFB272B-82A4-AB34-CCEB-EB3E773B6709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C16DBAF8-D5CE-3897-A565-6AEE7E537271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052514EA-CE76-4D4E-BAE1-559C7CAAB3F9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F84C006-77F0-77EF-0F0A-1BD4D844A0CB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D0384345-F92E-B014-8578-EB5384F5CFF7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039C9C3-BFDE-629E-E745-B07C51B1DAF0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AEB8230-2060-65F7-D6F1-96C87BE491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771" y="915566"/>
            <a:ext cx="3984445" cy="398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588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7570BD-DFAF-EE33-6769-C89B27DB5BF6}"/>
              </a:ext>
            </a:extLst>
          </p:cNvPr>
          <p:cNvCxnSpPr>
            <a:cxnSpLocks/>
          </p:cNvCxnSpPr>
          <p:nvPr/>
        </p:nvCxnSpPr>
        <p:spPr>
          <a:xfrm flipH="1">
            <a:off x="1763688" y="3622253"/>
            <a:ext cx="7380312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0" scaled="0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60862B2-1296-9E3D-73D7-8C58FE035336}"/>
              </a:ext>
            </a:extLst>
          </p:cNvPr>
          <p:cNvCxnSpPr>
            <a:cxnSpLocks/>
          </p:cNvCxnSpPr>
          <p:nvPr/>
        </p:nvCxnSpPr>
        <p:spPr>
          <a:xfrm flipH="1">
            <a:off x="0" y="1313828"/>
            <a:ext cx="7452320" cy="0"/>
          </a:xfrm>
          <a:prstGeom prst="line">
            <a:avLst/>
          </a:prstGeom>
          <a:ln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Arc 73">
            <a:extLst>
              <a:ext uri="{FF2B5EF4-FFF2-40B4-BE49-F238E27FC236}">
                <a16:creationId xmlns:a16="http://schemas.microsoft.com/office/drawing/2014/main" id="{1DA7EC52-8B6B-6F64-927A-10119611EDB9}"/>
              </a:ext>
            </a:extLst>
          </p:cNvPr>
          <p:cNvSpPr/>
          <p:nvPr/>
        </p:nvSpPr>
        <p:spPr>
          <a:xfrm>
            <a:off x="6804248" y="1313827"/>
            <a:ext cx="1276046" cy="1012281"/>
          </a:xfrm>
          <a:prstGeom prst="arc">
            <a:avLst>
              <a:gd name="adj1" fmla="val 16200000"/>
              <a:gd name="adj2" fmla="val 5439957"/>
            </a:avLst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E6454C8-F04E-FF0B-0F68-445B11D88CA1}"/>
              </a:ext>
            </a:extLst>
          </p:cNvPr>
          <p:cNvCxnSpPr>
            <a:cxnSpLocks/>
            <a:stCxn id="74" idx="2"/>
          </p:cNvCxnSpPr>
          <p:nvPr/>
        </p:nvCxnSpPr>
        <p:spPr>
          <a:xfrm flipH="1">
            <a:off x="1763688" y="2326086"/>
            <a:ext cx="5672700" cy="23"/>
          </a:xfrm>
          <a:prstGeom prst="line">
            <a:avLst/>
          </a:prstGeom>
          <a:ln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Arc 78">
            <a:extLst>
              <a:ext uri="{FF2B5EF4-FFF2-40B4-BE49-F238E27FC236}">
                <a16:creationId xmlns:a16="http://schemas.microsoft.com/office/drawing/2014/main" id="{D96B3365-BFA7-6B88-E627-5F251098AA93}"/>
              </a:ext>
            </a:extLst>
          </p:cNvPr>
          <p:cNvSpPr/>
          <p:nvPr/>
        </p:nvSpPr>
        <p:spPr>
          <a:xfrm flipH="1">
            <a:off x="1115616" y="2326109"/>
            <a:ext cx="1296144" cy="1296144"/>
          </a:xfrm>
          <a:prstGeom prst="arc">
            <a:avLst>
              <a:gd name="adj1" fmla="val 16200000"/>
              <a:gd name="adj2" fmla="val 5439957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D9E4096-E2D4-F756-3E77-2A01E14738C8}"/>
              </a:ext>
            </a:extLst>
          </p:cNvPr>
          <p:cNvSpPr/>
          <p:nvPr/>
        </p:nvSpPr>
        <p:spPr>
          <a:xfrm flipH="1">
            <a:off x="1963806" y="1173796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08BA528-A886-95E6-C64B-DDD5FCCBFFCA}"/>
              </a:ext>
            </a:extLst>
          </p:cNvPr>
          <p:cNvSpPr/>
          <p:nvPr/>
        </p:nvSpPr>
        <p:spPr>
          <a:xfrm flipH="1">
            <a:off x="3168210" y="2186285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E70FBF0-452D-8274-28B5-27EF89004DD9}"/>
              </a:ext>
            </a:extLst>
          </p:cNvPr>
          <p:cNvSpPr/>
          <p:nvPr/>
        </p:nvSpPr>
        <p:spPr>
          <a:xfrm flipH="1">
            <a:off x="6030527" y="2186285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0840FC8-5B3D-98E1-09DF-F913F268A9BC}"/>
              </a:ext>
            </a:extLst>
          </p:cNvPr>
          <p:cNvSpPr txBox="1"/>
          <p:nvPr/>
        </p:nvSpPr>
        <p:spPr>
          <a:xfrm>
            <a:off x="2051720" y="953580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8H 30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10722E-921C-C4FE-45BA-7EC92E482096}"/>
              </a:ext>
            </a:extLst>
          </p:cNvPr>
          <p:cNvSpPr txBox="1"/>
          <p:nvPr/>
        </p:nvSpPr>
        <p:spPr>
          <a:xfrm>
            <a:off x="6118442" y="1966069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9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H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30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96DF2B7-2B61-4755-6630-1A1155B6927A}"/>
              </a:ext>
            </a:extLst>
          </p:cNvPr>
          <p:cNvSpPr txBox="1"/>
          <p:nvPr/>
        </p:nvSpPr>
        <p:spPr>
          <a:xfrm>
            <a:off x="3256124" y="1966069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0h 25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C6FE214-B9F4-CE68-E36D-45571789F649}"/>
              </a:ext>
            </a:extLst>
          </p:cNvPr>
          <p:cNvSpPr/>
          <p:nvPr/>
        </p:nvSpPr>
        <p:spPr>
          <a:xfrm flipH="1">
            <a:off x="1963806" y="3462331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F902A3-D21D-F078-5C1E-C1684E0CED40}"/>
              </a:ext>
            </a:extLst>
          </p:cNvPr>
          <p:cNvSpPr txBox="1"/>
          <p:nvPr/>
        </p:nvSpPr>
        <p:spPr>
          <a:xfrm>
            <a:off x="2051720" y="3241479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1h 25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0E8BDA2-39F9-F7B2-E0E8-B05BE84672BE}"/>
              </a:ext>
            </a:extLst>
          </p:cNvPr>
          <p:cNvSpPr/>
          <p:nvPr/>
        </p:nvSpPr>
        <p:spPr>
          <a:xfrm flipH="1">
            <a:off x="4655105" y="3462331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FF3AEC4-4D33-3B41-8804-B6DF866CACD0}"/>
              </a:ext>
            </a:extLst>
          </p:cNvPr>
          <p:cNvSpPr txBox="1"/>
          <p:nvPr/>
        </p:nvSpPr>
        <p:spPr>
          <a:xfrm>
            <a:off x="4743019" y="3241479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2h 10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8C6024F-FB65-2A54-3E79-E4F27DC531D6}"/>
              </a:ext>
            </a:extLst>
          </p:cNvPr>
          <p:cNvSpPr txBox="1"/>
          <p:nvPr/>
        </p:nvSpPr>
        <p:spPr>
          <a:xfrm>
            <a:off x="2051720" y="1457636"/>
            <a:ext cx="1008112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1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ccueil café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BB9E98-07E3-160C-FE07-245515E2EB94}"/>
              </a:ext>
            </a:extLst>
          </p:cNvPr>
          <p:cNvSpPr/>
          <p:nvPr/>
        </p:nvSpPr>
        <p:spPr>
          <a:xfrm flipH="1">
            <a:off x="4835125" y="1173796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6E5239C-5748-3DD8-9338-48F80C8CFF1F}"/>
              </a:ext>
            </a:extLst>
          </p:cNvPr>
          <p:cNvSpPr txBox="1"/>
          <p:nvPr/>
        </p:nvSpPr>
        <p:spPr>
          <a:xfrm>
            <a:off x="4923039" y="953580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9h 15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DF644DC-8301-FE24-2FC7-67CC546DF3A3}"/>
              </a:ext>
            </a:extLst>
          </p:cNvPr>
          <p:cNvSpPr txBox="1"/>
          <p:nvPr/>
        </p:nvSpPr>
        <p:spPr>
          <a:xfrm>
            <a:off x="4923039" y="1457636"/>
            <a:ext cx="1008112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1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uvertur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B947D46-2A88-2D42-9CB1-28233DF766C1}"/>
              </a:ext>
            </a:extLst>
          </p:cNvPr>
          <p:cNvSpPr txBox="1"/>
          <p:nvPr/>
        </p:nvSpPr>
        <p:spPr>
          <a:xfrm>
            <a:off x="6136444" y="2470125"/>
            <a:ext cx="1872208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1</a:t>
            </a:r>
            <a:r>
              <a:rPr kumimoji="0" lang="fr-FR" sz="1000" b="0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ÈR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mment mieux recruter en alternance dans nos branches ?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29445EB-B4E8-17A7-11DA-BBEF9FCE894C}"/>
              </a:ext>
            </a:extLst>
          </p:cNvPr>
          <p:cNvSpPr txBox="1"/>
          <p:nvPr/>
        </p:nvSpPr>
        <p:spPr>
          <a:xfrm>
            <a:off x="3256124" y="2470125"/>
            <a:ext cx="21602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2</a:t>
            </a:r>
            <a:r>
              <a:rPr kumimoji="0" lang="fr-FR" sz="1000" b="0" i="0" u="none" strike="noStrike" kern="1200" cap="none" spc="0" normalizeH="0" baseline="3000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EM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mment favoriser les parcours d'alternance innovants et de qualité dans l'enseignement supérieur?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34D82B6-4002-29EA-7D6D-9CE90C00C260}"/>
              </a:ext>
            </a:extLst>
          </p:cNvPr>
          <p:cNvSpPr txBox="1"/>
          <p:nvPr/>
        </p:nvSpPr>
        <p:spPr>
          <a:xfrm>
            <a:off x="2051720" y="3766269"/>
            <a:ext cx="2520280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3</a:t>
            </a:r>
            <a:r>
              <a:rPr kumimoji="0" lang="fr-FR" sz="1000" b="0" i="0" u="none" strike="noStrike" kern="1200" cap="none" spc="0" normalizeH="0" baseline="3000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ÈM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Quels enjeux de développement de l'alternance dans les filières d'ingénieurs ?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CA3BDB1-457C-35B5-701F-C37004A5F736}"/>
              </a:ext>
            </a:extLst>
          </p:cNvPr>
          <p:cNvSpPr txBox="1"/>
          <p:nvPr/>
        </p:nvSpPr>
        <p:spPr>
          <a:xfrm>
            <a:off x="4743019" y="3766269"/>
            <a:ext cx="585065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lôtur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6FC6B64-EAB3-5CD2-AFAD-2F0C36D811E0}"/>
              </a:ext>
            </a:extLst>
          </p:cNvPr>
          <p:cNvSpPr/>
          <p:nvPr/>
        </p:nvSpPr>
        <p:spPr>
          <a:xfrm flipH="1">
            <a:off x="7030560" y="3462331"/>
            <a:ext cx="283840" cy="28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20D6BC0-F9A1-43E6-DC7F-3A386C624B24}"/>
              </a:ext>
            </a:extLst>
          </p:cNvPr>
          <p:cNvSpPr txBox="1"/>
          <p:nvPr/>
        </p:nvSpPr>
        <p:spPr>
          <a:xfrm>
            <a:off x="7118474" y="3241479"/>
            <a:ext cx="79208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2h 30</a:t>
            </a:r>
            <a:r>
              <a:rPr kumimoji="0" lang="en-US" sz="1400" b="0" i="1" u="none" strike="noStrike" kern="1200" cap="none" spc="0" normalizeH="0" baseline="3000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’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6883620-4A92-22AB-A5A1-FEB0722FA6D0}"/>
              </a:ext>
            </a:extLst>
          </p:cNvPr>
          <p:cNvSpPr txBox="1"/>
          <p:nvPr/>
        </p:nvSpPr>
        <p:spPr>
          <a:xfrm>
            <a:off x="7118474" y="3766269"/>
            <a:ext cx="1314146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cktail déjeunatoir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F5A61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107" name="Graphic 105">
            <a:extLst>
              <a:ext uri="{FF2B5EF4-FFF2-40B4-BE49-F238E27FC236}">
                <a16:creationId xmlns:a16="http://schemas.microsoft.com/office/drawing/2014/main" id="{5944B4F0-370F-E05A-5A54-88A068423A91}"/>
              </a:ext>
            </a:extLst>
          </p:cNvPr>
          <p:cNvSpPr/>
          <p:nvPr/>
        </p:nvSpPr>
        <p:spPr>
          <a:xfrm flipH="1">
            <a:off x="2024956" y="1241612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Graphic 105">
            <a:extLst>
              <a:ext uri="{FF2B5EF4-FFF2-40B4-BE49-F238E27FC236}">
                <a16:creationId xmlns:a16="http://schemas.microsoft.com/office/drawing/2014/main" id="{1091F58B-43DE-995F-09AB-2A59594B20EE}"/>
              </a:ext>
            </a:extLst>
          </p:cNvPr>
          <p:cNvSpPr/>
          <p:nvPr/>
        </p:nvSpPr>
        <p:spPr>
          <a:xfrm flipH="1">
            <a:off x="4889177" y="1241612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2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0" name="Graphic 105">
            <a:extLst>
              <a:ext uri="{FF2B5EF4-FFF2-40B4-BE49-F238E27FC236}">
                <a16:creationId xmlns:a16="http://schemas.microsoft.com/office/drawing/2014/main" id="{7B203499-C138-3ADE-199E-EE565463EB7F}"/>
              </a:ext>
            </a:extLst>
          </p:cNvPr>
          <p:cNvSpPr/>
          <p:nvPr/>
        </p:nvSpPr>
        <p:spPr>
          <a:xfrm flipH="1">
            <a:off x="6102065" y="2255341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Graphic 105">
            <a:extLst>
              <a:ext uri="{FF2B5EF4-FFF2-40B4-BE49-F238E27FC236}">
                <a16:creationId xmlns:a16="http://schemas.microsoft.com/office/drawing/2014/main" id="{37CFBA2E-16BD-C74A-9986-B761433342CF}"/>
              </a:ext>
            </a:extLst>
          </p:cNvPr>
          <p:cNvSpPr/>
          <p:nvPr/>
        </p:nvSpPr>
        <p:spPr>
          <a:xfrm flipH="1">
            <a:off x="3232311" y="2255341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Graphic 105">
            <a:extLst>
              <a:ext uri="{FF2B5EF4-FFF2-40B4-BE49-F238E27FC236}">
                <a16:creationId xmlns:a16="http://schemas.microsoft.com/office/drawing/2014/main" id="{730C36F8-A531-FD5B-0E69-98A0F026CC3C}"/>
              </a:ext>
            </a:extLst>
          </p:cNvPr>
          <p:cNvSpPr/>
          <p:nvPr/>
        </p:nvSpPr>
        <p:spPr>
          <a:xfrm flipH="1">
            <a:off x="2025526" y="3552626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Graphic 105">
            <a:extLst>
              <a:ext uri="{FF2B5EF4-FFF2-40B4-BE49-F238E27FC236}">
                <a16:creationId xmlns:a16="http://schemas.microsoft.com/office/drawing/2014/main" id="{514DAB49-9BD9-109F-2A50-56FAC2DF9811}"/>
              </a:ext>
            </a:extLst>
          </p:cNvPr>
          <p:cNvSpPr/>
          <p:nvPr/>
        </p:nvSpPr>
        <p:spPr>
          <a:xfrm flipH="1">
            <a:off x="4716016" y="3550245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4" name="Graphic 105">
            <a:extLst>
              <a:ext uri="{FF2B5EF4-FFF2-40B4-BE49-F238E27FC236}">
                <a16:creationId xmlns:a16="http://schemas.microsoft.com/office/drawing/2014/main" id="{3B23FD6E-AC58-A580-EE65-FC0FA216D2FF}"/>
              </a:ext>
            </a:extLst>
          </p:cNvPr>
          <p:cNvSpPr/>
          <p:nvPr/>
        </p:nvSpPr>
        <p:spPr>
          <a:xfrm flipH="1">
            <a:off x="7092472" y="3550245"/>
            <a:ext cx="144016" cy="152988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4D166783-D52F-AFF5-99D5-78D2FAFC8AAE}"/>
              </a:ext>
            </a:extLst>
          </p:cNvPr>
          <p:cNvSpPr/>
          <p:nvPr/>
        </p:nvSpPr>
        <p:spPr>
          <a:xfrm>
            <a:off x="1" y="1213782"/>
            <a:ext cx="1998851" cy="2574851"/>
          </a:xfrm>
          <a:custGeom>
            <a:avLst/>
            <a:gdLst>
              <a:gd name="csX0" fmla="*/ 0 w 1998851"/>
              <a:gd name="csY0" fmla="*/ 0 h 2574851"/>
              <a:gd name="csX1" fmla="*/ 1976298 w 1998851"/>
              <a:gd name="csY1" fmla="*/ 1521484 h 2574851"/>
              <a:gd name="csX2" fmla="*/ 1979740 w 1998851"/>
              <a:gd name="csY2" fmla="*/ 1676763 h 2574851"/>
              <a:gd name="csX3" fmla="*/ 1486562 w 1998851"/>
              <a:gd name="csY3" fmla="*/ 2563562 h 2574851"/>
              <a:gd name="csX4" fmla="*/ 0 w 1998851"/>
              <a:gd name="csY4" fmla="*/ 2574851 h 2574851"/>
              <a:gd name="csX5" fmla="*/ 0 w 1998851"/>
              <a:gd name="csY5" fmla="*/ 2452077 h 2574851"/>
              <a:gd name="csX6" fmla="*/ 1349986 w 1998851"/>
              <a:gd name="csY6" fmla="*/ 2469330 h 2574851"/>
              <a:gd name="csX7" fmla="*/ 1420644 w 1998851"/>
              <a:gd name="csY7" fmla="*/ 2433870 h 2574851"/>
              <a:gd name="csX8" fmla="*/ 1805108 w 1998851"/>
              <a:gd name="csY8" fmla="*/ 1703584 h 2574851"/>
              <a:gd name="csX9" fmla="*/ 0 w 1998851"/>
              <a:gd name="csY9" fmla="*/ 1703584 h 2574851"/>
              <a:gd name="csX10" fmla="*/ 0 w 1998851"/>
              <a:gd name="csY10" fmla="*/ 1581177 h 2574851"/>
              <a:gd name="csX11" fmla="*/ 1847516 w 1998851"/>
              <a:gd name="csY11" fmla="*/ 1597142 h 2574851"/>
              <a:gd name="csX12" fmla="*/ 0 w 1998851"/>
              <a:gd name="csY12" fmla="*/ 181937 h 257485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998851" h="2574851">
                <a:moveTo>
                  <a:pt x="0" y="0"/>
                </a:moveTo>
                <a:lnTo>
                  <a:pt x="1976298" y="1521484"/>
                </a:lnTo>
                <a:cubicBezTo>
                  <a:pt x="2010393" y="1566944"/>
                  <a:pt x="2001041" y="1627926"/>
                  <a:pt x="1979740" y="1676763"/>
                </a:cubicBezTo>
                <a:lnTo>
                  <a:pt x="1486562" y="2563562"/>
                </a:lnTo>
                <a:lnTo>
                  <a:pt x="0" y="2574851"/>
                </a:lnTo>
                <a:lnTo>
                  <a:pt x="0" y="2452077"/>
                </a:lnTo>
                <a:lnTo>
                  <a:pt x="1349986" y="2469330"/>
                </a:lnTo>
                <a:lnTo>
                  <a:pt x="1420644" y="2433870"/>
                </a:lnTo>
                <a:lnTo>
                  <a:pt x="1805108" y="1703584"/>
                </a:lnTo>
                <a:lnTo>
                  <a:pt x="0" y="1703584"/>
                </a:lnTo>
                <a:lnTo>
                  <a:pt x="0" y="1581177"/>
                </a:lnTo>
                <a:lnTo>
                  <a:pt x="1847516" y="1597142"/>
                </a:lnTo>
                <a:lnTo>
                  <a:pt x="0" y="181937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20000"/>
            </a:schemeClr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8" name="Graphic 105">
            <a:extLst>
              <a:ext uri="{FF2B5EF4-FFF2-40B4-BE49-F238E27FC236}">
                <a16:creationId xmlns:a16="http://schemas.microsoft.com/office/drawing/2014/main" id="{BDFF6D1C-163D-35C4-729B-A0A7C2DA338B}"/>
              </a:ext>
            </a:extLst>
          </p:cNvPr>
          <p:cNvSpPr/>
          <p:nvPr/>
        </p:nvSpPr>
        <p:spPr>
          <a:xfrm flipH="1">
            <a:off x="7092280" y="825772"/>
            <a:ext cx="1512168" cy="1606374"/>
          </a:xfrm>
          <a:custGeom>
            <a:avLst/>
            <a:gdLst>
              <a:gd name="csX0" fmla="*/ 4824564 w 4843674"/>
              <a:gd name="csY0" fmla="*/ 3372747 h 5145436"/>
              <a:gd name="csX1" fmla="*/ 4331386 w 4843674"/>
              <a:gd name="csY1" fmla="*/ 4259546 h 5145436"/>
              <a:gd name="csX2" fmla="*/ 2330161 w 4843674"/>
              <a:gd name="csY2" fmla="*/ 4274743 h 5145436"/>
              <a:gd name="csX3" fmla="*/ 955899 w 4843674"/>
              <a:gd name="csY3" fmla="*/ 5129395 h 5145436"/>
              <a:gd name="csX4" fmla="*/ 750289 w 4843674"/>
              <a:gd name="csY4" fmla="*/ 5018407 h 5145436"/>
              <a:gd name="csX5" fmla="*/ 0 w 4843674"/>
              <a:gd name="csY5" fmla="*/ 1010244 h 5145436"/>
              <a:gd name="csX6" fmla="*/ 18119 w 4843674"/>
              <a:gd name="csY6" fmla="*/ 899386 h 5145436"/>
              <a:gd name="csX7" fmla="*/ 495062 w 4843674"/>
              <a:gd name="csY7" fmla="*/ 28238 h 5145436"/>
              <a:gd name="csX8" fmla="*/ 658719 w 4843674"/>
              <a:gd name="csY8" fmla="*/ 12976 h 5145436"/>
              <a:gd name="csX9" fmla="*/ 4821122 w 4843674"/>
              <a:gd name="csY9" fmla="*/ 3217468 h 5145436"/>
              <a:gd name="csX10" fmla="*/ 4824564 w 4843674"/>
              <a:gd name="csY10" fmla="*/ 3372747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4843674" h="5145436">
                <a:moveTo>
                  <a:pt x="4824564" y="3372747"/>
                </a:moveTo>
                <a:lnTo>
                  <a:pt x="4331386" y="4259546"/>
                </a:lnTo>
                <a:lnTo>
                  <a:pt x="2330161" y="4274743"/>
                </a:lnTo>
                <a:lnTo>
                  <a:pt x="955899" y="5129395"/>
                </a:lnTo>
                <a:cubicBezTo>
                  <a:pt x="844586" y="5168231"/>
                  <a:pt x="767304" y="5138552"/>
                  <a:pt x="750289" y="5018407"/>
                </a:cubicBezTo>
                <a:lnTo>
                  <a:pt x="0" y="1010244"/>
                </a:lnTo>
                <a:lnTo>
                  <a:pt x="18119" y="899386"/>
                </a:lnTo>
                <a:lnTo>
                  <a:pt x="495062" y="28238"/>
                </a:lnTo>
                <a:cubicBezTo>
                  <a:pt x="527144" y="-2740"/>
                  <a:pt x="617999" y="-8845"/>
                  <a:pt x="658719" y="12976"/>
                </a:cubicBezTo>
                <a:lnTo>
                  <a:pt x="4821122" y="3217468"/>
                </a:lnTo>
                <a:cubicBezTo>
                  <a:pt x="4855217" y="3262928"/>
                  <a:pt x="4845865" y="3323910"/>
                  <a:pt x="4824564" y="3372747"/>
                </a:cubicBezTo>
                <a:close/>
              </a:path>
            </a:pathLst>
          </a:custGeom>
          <a:solidFill>
            <a:schemeClr val="bg1"/>
          </a:solidFill>
          <a:ln w="6486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7" name="Graphic 125">
            <a:extLst>
              <a:ext uri="{FF2B5EF4-FFF2-40B4-BE49-F238E27FC236}">
                <a16:creationId xmlns:a16="http://schemas.microsoft.com/office/drawing/2014/main" id="{9DAA2575-371C-95B0-990B-B2A6710E4A54}"/>
              </a:ext>
            </a:extLst>
          </p:cNvPr>
          <p:cNvSpPr/>
          <p:nvPr/>
        </p:nvSpPr>
        <p:spPr>
          <a:xfrm flipH="1">
            <a:off x="7200295" y="852032"/>
            <a:ext cx="1191587" cy="1265823"/>
          </a:xfrm>
          <a:custGeom>
            <a:avLst/>
            <a:gdLst>
              <a:gd name="csX0" fmla="*/ 4821122 w 4843674"/>
              <a:gd name="csY0" fmla="*/ 3217468 h 5145436"/>
              <a:gd name="csX1" fmla="*/ 658719 w 4843674"/>
              <a:gd name="csY1" fmla="*/ 12976 h 5145436"/>
              <a:gd name="csX2" fmla="*/ 495062 w 4843674"/>
              <a:gd name="csY2" fmla="*/ 28238 h 5145436"/>
              <a:gd name="csX3" fmla="*/ 18119 w 4843674"/>
              <a:gd name="csY3" fmla="*/ 899386 h 5145436"/>
              <a:gd name="csX4" fmla="*/ 0 w 4843674"/>
              <a:gd name="csY4" fmla="*/ 1010244 h 5145436"/>
              <a:gd name="csX5" fmla="*/ 750289 w 4843674"/>
              <a:gd name="csY5" fmla="*/ 5018407 h 5145436"/>
              <a:gd name="csX6" fmla="*/ 955899 w 4843674"/>
              <a:gd name="csY6" fmla="*/ 5129395 h 5145436"/>
              <a:gd name="csX7" fmla="*/ 2330161 w 4843674"/>
              <a:gd name="csY7" fmla="*/ 4274743 h 5145436"/>
              <a:gd name="csX8" fmla="*/ 4331386 w 4843674"/>
              <a:gd name="csY8" fmla="*/ 4259546 h 5145436"/>
              <a:gd name="csX9" fmla="*/ 4824564 w 4843674"/>
              <a:gd name="csY9" fmla="*/ 3372747 h 5145436"/>
              <a:gd name="csX10" fmla="*/ 4821122 w 4843674"/>
              <a:gd name="csY10" fmla="*/ 3217468 h 5145436"/>
              <a:gd name="csX11" fmla="*/ 892709 w 4843674"/>
              <a:gd name="csY11" fmla="*/ 4907354 h 5145436"/>
              <a:gd name="csX12" fmla="*/ 851275 w 4843674"/>
              <a:gd name="csY12" fmla="*/ 4875208 h 5145436"/>
              <a:gd name="csX13" fmla="*/ 128458 w 4843674"/>
              <a:gd name="csY13" fmla="*/ 1009594 h 5145436"/>
              <a:gd name="csX14" fmla="*/ 500452 w 4843674"/>
              <a:gd name="csY14" fmla="*/ 298986 h 5145436"/>
              <a:gd name="csX15" fmla="*/ 1248792 w 4843674"/>
              <a:gd name="csY15" fmla="*/ 4221425 h 5145436"/>
              <a:gd name="csX16" fmla="*/ 892709 w 4843674"/>
              <a:gd name="csY16" fmla="*/ 4907354 h 5145436"/>
              <a:gd name="csX17" fmla="*/ 2249437 w 4843674"/>
              <a:gd name="csY17" fmla="*/ 4172717 h 5145436"/>
              <a:gd name="csX18" fmla="*/ 1020517 w 4843674"/>
              <a:gd name="csY18" fmla="*/ 4928526 h 5145436"/>
              <a:gd name="csX19" fmla="*/ 1350169 w 4843674"/>
              <a:gd name="csY19" fmla="*/ 4292342 h 5145436"/>
              <a:gd name="csX20" fmla="*/ 2478621 w 4843674"/>
              <a:gd name="csY20" fmla="*/ 3594982 h 5145436"/>
              <a:gd name="csX21" fmla="*/ 2590973 w 4843674"/>
              <a:gd name="csY21" fmla="*/ 3548353 h 5145436"/>
              <a:gd name="csX22" fmla="*/ 2249437 w 4843674"/>
              <a:gd name="csY22" fmla="*/ 4172717 h 5145436"/>
              <a:gd name="csX23" fmla="*/ 4265468 w 4843674"/>
              <a:gd name="csY23" fmla="*/ 4129854 h 5145436"/>
              <a:gd name="csX24" fmla="*/ 4194810 w 4843674"/>
              <a:gd name="csY24" fmla="*/ 4165314 h 5145436"/>
              <a:gd name="csX25" fmla="*/ 2421277 w 4843674"/>
              <a:gd name="csY25" fmla="*/ 4142648 h 5145436"/>
              <a:gd name="csX26" fmla="*/ 2803337 w 4843674"/>
              <a:gd name="csY26" fmla="*/ 3399568 h 5145436"/>
              <a:gd name="csX27" fmla="*/ 4649932 w 4843674"/>
              <a:gd name="csY27" fmla="*/ 3399568 h 5145436"/>
              <a:gd name="csX28" fmla="*/ 4265468 w 4843674"/>
              <a:gd name="csY28" fmla="*/ 4129854 h 5145436"/>
              <a:gd name="csX29" fmla="*/ 2775931 w 4843674"/>
              <a:gd name="csY29" fmla="*/ 3276566 h 5145436"/>
              <a:gd name="csX30" fmla="*/ 1371080 w 4843674"/>
              <a:gd name="csY30" fmla="*/ 4142908 h 5145436"/>
              <a:gd name="csX31" fmla="*/ 617220 w 4843674"/>
              <a:gd name="csY31" fmla="*/ 171567 h 5145436"/>
              <a:gd name="csX32" fmla="*/ 4692340 w 4843674"/>
              <a:gd name="csY32" fmla="*/ 3293126 h 5145436"/>
              <a:gd name="csX33" fmla="*/ 2775931 w 4843674"/>
              <a:gd name="csY33" fmla="*/ 3276566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4843674" h="5145436">
                <a:moveTo>
                  <a:pt x="4821122" y="3217468"/>
                </a:moveTo>
                <a:lnTo>
                  <a:pt x="658719" y="12976"/>
                </a:lnTo>
                <a:cubicBezTo>
                  <a:pt x="617999" y="-8845"/>
                  <a:pt x="527144" y="-2740"/>
                  <a:pt x="495062" y="28238"/>
                </a:cubicBezTo>
                <a:lnTo>
                  <a:pt x="18119" y="899386"/>
                </a:lnTo>
                <a:lnTo>
                  <a:pt x="0" y="1010244"/>
                </a:lnTo>
                <a:lnTo>
                  <a:pt x="750289" y="5018407"/>
                </a:lnTo>
                <a:cubicBezTo>
                  <a:pt x="767304" y="5138552"/>
                  <a:pt x="844586" y="5168231"/>
                  <a:pt x="955899" y="5129395"/>
                </a:cubicBezTo>
                <a:lnTo>
                  <a:pt x="2330161" y="4274743"/>
                </a:lnTo>
                <a:lnTo>
                  <a:pt x="4331386" y="4259546"/>
                </a:lnTo>
                <a:lnTo>
                  <a:pt x="4824564" y="3372747"/>
                </a:lnTo>
                <a:cubicBezTo>
                  <a:pt x="4845865" y="3323910"/>
                  <a:pt x="4855217" y="3262928"/>
                  <a:pt x="4821122" y="3217468"/>
                </a:cubicBezTo>
                <a:close/>
                <a:moveTo>
                  <a:pt x="892709" y="4907354"/>
                </a:moveTo>
                <a:cubicBezTo>
                  <a:pt x="857315" y="4941839"/>
                  <a:pt x="856211" y="4902159"/>
                  <a:pt x="851275" y="4875208"/>
                </a:cubicBezTo>
                <a:cubicBezTo>
                  <a:pt x="616051" y="3585436"/>
                  <a:pt x="371995" y="2297742"/>
                  <a:pt x="128458" y="1009594"/>
                </a:cubicBezTo>
                <a:cubicBezTo>
                  <a:pt x="219833" y="758719"/>
                  <a:pt x="371150" y="531288"/>
                  <a:pt x="500452" y="298986"/>
                </a:cubicBezTo>
                <a:lnTo>
                  <a:pt x="1248792" y="4221425"/>
                </a:lnTo>
                <a:lnTo>
                  <a:pt x="892709" y="4907354"/>
                </a:lnTo>
                <a:close/>
                <a:moveTo>
                  <a:pt x="2249437" y="4172717"/>
                </a:moveTo>
                <a:lnTo>
                  <a:pt x="1020517" y="4928526"/>
                </a:lnTo>
                <a:lnTo>
                  <a:pt x="1350169" y="4292342"/>
                </a:lnTo>
                <a:cubicBezTo>
                  <a:pt x="1736451" y="4083485"/>
                  <a:pt x="2097470" y="3809230"/>
                  <a:pt x="2478621" y="3594982"/>
                </a:cubicBezTo>
                <a:cubicBezTo>
                  <a:pt x="2499013" y="3583552"/>
                  <a:pt x="2576166" y="3534001"/>
                  <a:pt x="2590973" y="3548353"/>
                </a:cubicBezTo>
                <a:lnTo>
                  <a:pt x="2249437" y="4172717"/>
                </a:lnTo>
                <a:close/>
                <a:moveTo>
                  <a:pt x="4265468" y="4129854"/>
                </a:moveTo>
                <a:lnTo>
                  <a:pt x="4194810" y="4165314"/>
                </a:lnTo>
                <a:lnTo>
                  <a:pt x="2421277" y="4142648"/>
                </a:lnTo>
                <a:lnTo>
                  <a:pt x="2803337" y="3399568"/>
                </a:lnTo>
                <a:lnTo>
                  <a:pt x="4649932" y="3399568"/>
                </a:lnTo>
                <a:lnTo>
                  <a:pt x="4265468" y="4129854"/>
                </a:lnTo>
                <a:close/>
                <a:moveTo>
                  <a:pt x="2775931" y="3276566"/>
                </a:moveTo>
                <a:lnTo>
                  <a:pt x="1371080" y="4142908"/>
                </a:lnTo>
                <a:lnTo>
                  <a:pt x="617220" y="171567"/>
                </a:lnTo>
                <a:lnTo>
                  <a:pt x="4692340" y="3293126"/>
                </a:lnTo>
                <a:lnTo>
                  <a:pt x="2775931" y="3276566"/>
                </a:ln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E7CB059C-4D4F-8A23-1894-390D2F44F56F}"/>
              </a:ext>
            </a:extLst>
          </p:cNvPr>
          <p:cNvSpPr/>
          <p:nvPr/>
        </p:nvSpPr>
        <p:spPr>
          <a:xfrm>
            <a:off x="7072548" y="1097596"/>
            <a:ext cx="1447080" cy="377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C8415EE-5CCA-47AA-D670-19EBAE91F808}"/>
              </a:ext>
            </a:extLst>
          </p:cNvPr>
          <p:cNvSpPr txBox="1"/>
          <p:nvPr/>
        </p:nvSpPr>
        <p:spPr>
          <a:xfrm>
            <a:off x="7112012" y="1152163"/>
            <a:ext cx="136815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Mardi 08 avril 2025 </a:t>
            </a:r>
            <a:b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 09h15 à 12h3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F5A61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E47C11-11EB-C0AE-3455-1BD92470B20A}"/>
              </a:ext>
            </a:extLst>
          </p:cNvPr>
          <p:cNvSpPr txBox="1">
            <a:spLocks/>
          </p:cNvSpPr>
          <p:nvPr/>
        </p:nvSpPr>
        <p:spPr>
          <a:xfrm>
            <a:off x="539552" y="292026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PROGRAM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0EAC9E-240C-224C-CB77-F51620FC6B6E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50CA0C-CEF3-F751-1E64-B3D3AB2F8132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1011C5A-E1D7-3892-A5EA-9AD68FF158CF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F46F29D-D32B-2364-6FA1-B9B09F124579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5" name="Graphic 2">
                <a:extLst>
                  <a:ext uri="{FF2B5EF4-FFF2-40B4-BE49-F238E27FC236}">
                    <a16:creationId xmlns:a16="http://schemas.microsoft.com/office/drawing/2014/main" id="{1C35FA39-6D1A-0E7C-5961-989EABE39EF1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CCFA1598-ADBE-30E2-35A6-04BEF4034687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37530D7C-1752-E725-B659-049CC92ED00B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aphic 2">
                <a:extLst>
                  <a:ext uri="{FF2B5EF4-FFF2-40B4-BE49-F238E27FC236}">
                    <a16:creationId xmlns:a16="http://schemas.microsoft.com/office/drawing/2014/main" id="{08597BA9-E30A-8438-1221-E46C618223C3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1C606CC7-FE0C-667D-AA7E-22B3E1FE7E2A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812A5673-2C0B-7F66-5507-88119F0C88E0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25767CDF-EC5B-4C3C-18AC-7409BC622CC7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F4017A72-FA2E-0578-8048-D45221F0C981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" name="Graphic 2">
                <a:extLst>
                  <a:ext uri="{FF2B5EF4-FFF2-40B4-BE49-F238E27FC236}">
                    <a16:creationId xmlns:a16="http://schemas.microsoft.com/office/drawing/2014/main" id="{ACA901BB-660E-3F08-19A9-26210D5C0006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7F5C2A91-19E9-2B32-7FF7-FD9474772999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56F085D9-3D5A-216B-9AE8-6D0FC7AA4F92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: Shape 100">
                  <a:extLst>
                    <a:ext uri="{FF2B5EF4-FFF2-40B4-BE49-F238E27FC236}">
                      <a16:creationId xmlns:a16="http://schemas.microsoft.com/office/drawing/2014/main" id="{8C31EFF7-1641-382A-8BC2-668F26EB6DA4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808A2117-F639-7521-0F98-BC0595866817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32124D95-B9E5-FD60-DE91-F2AA4F74525E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83605F2-F037-F292-CC95-83269AAA87FB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61B3ACB-5FE7-7A87-6685-DA005DCF5695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CAA29DD-0584-5A3F-453F-D90B5F7E027F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36094000-EF7D-A3D0-4230-31BDD11D3A02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24" name="Graphic 2">
                <a:extLst>
                  <a:ext uri="{FF2B5EF4-FFF2-40B4-BE49-F238E27FC236}">
                    <a16:creationId xmlns:a16="http://schemas.microsoft.com/office/drawing/2014/main" id="{3B848EE7-C67D-8F79-BB78-978D67021A59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92EEA05B-445A-D86A-C7AF-91D188BFE846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B3B45FC1-69C6-67BE-449D-BCE123B7931A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7763FE2-E6FA-8C22-B015-BF99BD17E767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3091223-68C3-C81F-3F0A-0A677484470E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27" name="Graphic 2">
                <a:extLst>
                  <a:ext uri="{FF2B5EF4-FFF2-40B4-BE49-F238E27FC236}">
                    <a16:creationId xmlns:a16="http://schemas.microsoft.com/office/drawing/2014/main" id="{1995824B-E442-277E-5C96-6AE17F778B6A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E2684ADE-4800-8F35-7D4F-99B73FABF0B5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CE702364-001A-8769-BE9C-ED74DDAAC128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ECFB33C6-F10E-E8E1-CCBA-3BFC0FE3B2F3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4FB516-885B-B15F-3F0F-F17E66BE0045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7AC11ACC-2A2E-DF5C-B8EB-84DBA87EE440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3C56110C-4DF0-D554-B8BB-69606B89DD7B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816C0D82-6BFA-FB61-2189-A8109EEE8D23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AC8A0550-EF98-77AE-7C9D-C6835C04566D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E30CDF39-EB9C-93BE-00AD-F5167786B692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A0C0F82B-37A5-24F9-2C15-1CA1B3153744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A60A2809-E108-5151-1B26-6F9D861DAFE1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49D213EB-8119-FD18-530C-57988CC00AF1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5CEC0C19-7C96-A681-049C-DE856B18D4CC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2" name="Graphic 2">
                  <a:extLst>
                    <a:ext uri="{FF2B5EF4-FFF2-40B4-BE49-F238E27FC236}">
                      <a16:creationId xmlns:a16="http://schemas.microsoft.com/office/drawing/2014/main" id="{F3A5B2FA-0681-27BF-166F-A0319165373E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9B361816-0259-F8A0-580E-EDDBE59C2E74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: Shape 88">
                    <a:extLst>
                      <a:ext uri="{FF2B5EF4-FFF2-40B4-BE49-F238E27FC236}">
                        <a16:creationId xmlns:a16="http://schemas.microsoft.com/office/drawing/2014/main" id="{A9D513C7-2014-4FDD-AEEC-2C518BD46023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B6A8EC7-6CEB-854E-F0C4-C74244DF87C9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5" name="Graphic 2">
                  <a:extLst>
                    <a:ext uri="{FF2B5EF4-FFF2-40B4-BE49-F238E27FC236}">
                      <a16:creationId xmlns:a16="http://schemas.microsoft.com/office/drawing/2014/main" id="{7467378F-90C1-0ABB-67CC-EC45C37E461D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68" name="Freeform: Shape 67">
                    <a:extLst>
                      <a:ext uri="{FF2B5EF4-FFF2-40B4-BE49-F238E27FC236}">
                        <a16:creationId xmlns:a16="http://schemas.microsoft.com/office/drawing/2014/main" id="{1E1B0E05-DC78-F293-9A16-E63EEB528D7C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9" name="Graphic 2">
                    <a:extLst>
                      <a:ext uri="{FF2B5EF4-FFF2-40B4-BE49-F238E27FC236}">
                        <a16:creationId xmlns:a16="http://schemas.microsoft.com/office/drawing/2014/main" id="{21849F17-490F-CFF9-DEE6-2ABD21F0F1ED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86" name="Freeform: Shape 85">
                      <a:extLst>
                        <a:ext uri="{FF2B5EF4-FFF2-40B4-BE49-F238E27FC236}">
                          <a16:creationId xmlns:a16="http://schemas.microsoft.com/office/drawing/2014/main" id="{78AB96FE-18E7-C111-2499-842BF541E2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87" name="Freeform: Shape 86">
                      <a:extLst>
                        <a:ext uri="{FF2B5EF4-FFF2-40B4-BE49-F238E27FC236}">
                          <a16:creationId xmlns:a16="http://schemas.microsoft.com/office/drawing/2014/main" id="{784C2E6D-A0FC-0CAC-4DC3-961C0D0078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73" name="Freeform: Shape 72">
                    <a:extLst>
                      <a:ext uri="{FF2B5EF4-FFF2-40B4-BE49-F238E27FC236}">
                        <a16:creationId xmlns:a16="http://schemas.microsoft.com/office/drawing/2014/main" id="{6716EE77-B169-B2D8-362D-CCD82936AFCF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: Shape 74">
                    <a:extLst>
                      <a:ext uri="{FF2B5EF4-FFF2-40B4-BE49-F238E27FC236}">
                        <a16:creationId xmlns:a16="http://schemas.microsoft.com/office/drawing/2014/main" id="{A1A845F7-281B-DC9B-D065-1B210E63F244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76" name="Graphic 2">
                    <a:extLst>
                      <a:ext uri="{FF2B5EF4-FFF2-40B4-BE49-F238E27FC236}">
                        <a16:creationId xmlns:a16="http://schemas.microsoft.com/office/drawing/2014/main" id="{BDE198FB-F673-519A-C74C-89F3AA1D8B1F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83" name="Freeform: Shape 82">
                      <a:extLst>
                        <a:ext uri="{FF2B5EF4-FFF2-40B4-BE49-F238E27FC236}">
                          <a16:creationId xmlns:a16="http://schemas.microsoft.com/office/drawing/2014/main" id="{AB388152-0DDA-2479-F8B7-C2853835A2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84" name="Freeform: Shape 83">
                      <a:extLst>
                        <a:ext uri="{FF2B5EF4-FFF2-40B4-BE49-F238E27FC236}">
                          <a16:creationId xmlns:a16="http://schemas.microsoft.com/office/drawing/2014/main" id="{1F863AD0-64EF-DE78-A513-4978F357B0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85" name="Freeform: Shape 84">
                      <a:extLst>
                        <a:ext uri="{FF2B5EF4-FFF2-40B4-BE49-F238E27FC236}">
                          <a16:creationId xmlns:a16="http://schemas.microsoft.com/office/drawing/2014/main" id="{2CC34F06-AC44-BE65-49F1-ED70A522C6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78" name="Freeform: Shape 77">
                    <a:extLst>
                      <a:ext uri="{FF2B5EF4-FFF2-40B4-BE49-F238E27FC236}">
                        <a16:creationId xmlns:a16="http://schemas.microsoft.com/office/drawing/2014/main" id="{3FF27E20-7DC7-70EA-B505-8EBFF2021266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: Shape 79">
                    <a:extLst>
                      <a:ext uri="{FF2B5EF4-FFF2-40B4-BE49-F238E27FC236}">
                        <a16:creationId xmlns:a16="http://schemas.microsoft.com/office/drawing/2014/main" id="{F770DAA5-F27A-DFD8-ABD8-88249A5BF893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: Shape 80">
                    <a:extLst>
                      <a:ext uri="{FF2B5EF4-FFF2-40B4-BE49-F238E27FC236}">
                        <a16:creationId xmlns:a16="http://schemas.microsoft.com/office/drawing/2014/main" id="{52579294-00AE-FE4F-342F-50215D4DC77B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: Shape 81">
                    <a:extLst>
                      <a:ext uri="{FF2B5EF4-FFF2-40B4-BE49-F238E27FC236}">
                        <a16:creationId xmlns:a16="http://schemas.microsoft.com/office/drawing/2014/main" id="{D1889450-AF42-99EC-3CC5-84D32882CA92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4902A045-CB15-E740-65CC-5C494F46FF4A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aphic 2">
                  <a:extLst>
                    <a:ext uri="{FF2B5EF4-FFF2-40B4-BE49-F238E27FC236}">
                      <a16:creationId xmlns:a16="http://schemas.microsoft.com/office/drawing/2014/main" id="{5187BDAC-47F3-CCA6-B2E3-949560D5FBFC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AC7472CB-DF1D-EF6E-C31A-33D30AE8B337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726A55DD-D585-787B-3559-FC8C71AE5E81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8CDCB69C-3F9B-6465-C17F-390A19F7C244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FD0CBF5E-BD7D-7A1C-4B3A-65BE38BAC332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1377B325-8075-60AC-AF04-440BE8C5E65F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96726AD9-A0FB-CBF2-F37B-E3F8EE65DD3A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: Shape 61">
                    <a:extLst>
                      <a:ext uri="{FF2B5EF4-FFF2-40B4-BE49-F238E27FC236}">
                        <a16:creationId xmlns:a16="http://schemas.microsoft.com/office/drawing/2014/main" id="{567224E7-14C9-F683-A27C-B25F30988D7D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: Shape 62">
                    <a:extLst>
                      <a:ext uri="{FF2B5EF4-FFF2-40B4-BE49-F238E27FC236}">
                        <a16:creationId xmlns:a16="http://schemas.microsoft.com/office/drawing/2014/main" id="{6BF41295-4D12-93A3-8CF7-EDC113D8FDB4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: Shape 63">
                    <a:extLst>
                      <a:ext uri="{FF2B5EF4-FFF2-40B4-BE49-F238E27FC236}">
                        <a16:creationId xmlns:a16="http://schemas.microsoft.com/office/drawing/2014/main" id="{E11A3133-9613-AF5E-A618-4EC00E576D3F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Rectangle 64">
                    <a:extLst>
                      <a:ext uri="{FF2B5EF4-FFF2-40B4-BE49-F238E27FC236}">
                        <a16:creationId xmlns:a16="http://schemas.microsoft.com/office/drawing/2014/main" id="{41C89076-D1E5-92CB-61E1-0DC2329BC711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9DA094A9-5890-DED6-ADA9-3CF009E99D82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40DA5757-01DF-1E07-CA37-11A9EAA47512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4FB2E37D-5F52-00EF-D516-965D8A128C55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3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17" name="Graphic 116">
            <a:extLst>
              <a:ext uri="{FF2B5EF4-FFF2-40B4-BE49-F238E27FC236}">
                <a16:creationId xmlns:a16="http://schemas.microsoft.com/office/drawing/2014/main" id="{003FAD76-980D-8D3D-3FD9-0735229B1ACD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6860BE01-5F03-C9E7-6751-A706296D234D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EE29BC6-5B13-0005-1D3A-2D8AE109999F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051E1FF5-31BE-B55D-6B1E-A93CC5E9222F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9488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CD25576-81ED-380E-9197-A7B7F6748C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raphic 125">
            <a:extLst>
              <a:ext uri="{FF2B5EF4-FFF2-40B4-BE49-F238E27FC236}">
                <a16:creationId xmlns:a16="http://schemas.microsoft.com/office/drawing/2014/main" id="{858AF154-02A6-2C2B-7839-330F0284F23F}"/>
              </a:ext>
            </a:extLst>
          </p:cNvPr>
          <p:cNvSpPr/>
          <p:nvPr/>
        </p:nvSpPr>
        <p:spPr>
          <a:xfrm flipH="1">
            <a:off x="4229943" y="2112490"/>
            <a:ext cx="1191587" cy="1265823"/>
          </a:xfrm>
          <a:custGeom>
            <a:avLst/>
            <a:gdLst>
              <a:gd name="csX0" fmla="*/ 4821122 w 4843674"/>
              <a:gd name="csY0" fmla="*/ 3217468 h 5145436"/>
              <a:gd name="csX1" fmla="*/ 658719 w 4843674"/>
              <a:gd name="csY1" fmla="*/ 12976 h 5145436"/>
              <a:gd name="csX2" fmla="*/ 495062 w 4843674"/>
              <a:gd name="csY2" fmla="*/ 28238 h 5145436"/>
              <a:gd name="csX3" fmla="*/ 18119 w 4843674"/>
              <a:gd name="csY3" fmla="*/ 899386 h 5145436"/>
              <a:gd name="csX4" fmla="*/ 0 w 4843674"/>
              <a:gd name="csY4" fmla="*/ 1010244 h 5145436"/>
              <a:gd name="csX5" fmla="*/ 750289 w 4843674"/>
              <a:gd name="csY5" fmla="*/ 5018407 h 5145436"/>
              <a:gd name="csX6" fmla="*/ 955899 w 4843674"/>
              <a:gd name="csY6" fmla="*/ 5129395 h 5145436"/>
              <a:gd name="csX7" fmla="*/ 2330161 w 4843674"/>
              <a:gd name="csY7" fmla="*/ 4274743 h 5145436"/>
              <a:gd name="csX8" fmla="*/ 4331386 w 4843674"/>
              <a:gd name="csY8" fmla="*/ 4259546 h 5145436"/>
              <a:gd name="csX9" fmla="*/ 4824564 w 4843674"/>
              <a:gd name="csY9" fmla="*/ 3372747 h 5145436"/>
              <a:gd name="csX10" fmla="*/ 4821122 w 4843674"/>
              <a:gd name="csY10" fmla="*/ 3217468 h 5145436"/>
              <a:gd name="csX11" fmla="*/ 892709 w 4843674"/>
              <a:gd name="csY11" fmla="*/ 4907354 h 5145436"/>
              <a:gd name="csX12" fmla="*/ 851275 w 4843674"/>
              <a:gd name="csY12" fmla="*/ 4875208 h 5145436"/>
              <a:gd name="csX13" fmla="*/ 128458 w 4843674"/>
              <a:gd name="csY13" fmla="*/ 1009594 h 5145436"/>
              <a:gd name="csX14" fmla="*/ 500452 w 4843674"/>
              <a:gd name="csY14" fmla="*/ 298986 h 5145436"/>
              <a:gd name="csX15" fmla="*/ 1248792 w 4843674"/>
              <a:gd name="csY15" fmla="*/ 4221425 h 5145436"/>
              <a:gd name="csX16" fmla="*/ 892709 w 4843674"/>
              <a:gd name="csY16" fmla="*/ 4907354 h 5145436"/>
              <a:gd name="csX17" fmla="*/ 2249437 w 4843674"/>
              <a:gd name="csY17" fmla="*/ 4172717 h 5145436"/>
              <a:gd name="csX18" fmla="*/ 1020517 w 4843674"/>
              <a:gd name="csY18" fmla="*/ 4928526 h 5145436"/>
              <a:gd name="csX19" fmla="*/ 1350169 w 4843674"/>
              <a:gd name="csY19" fmla="*/ 4292342 h 5145436"/>
              <a:gd name="csX20" fmla="*/ 2478621 w 4843674"/>
              <a:gd name="csY20" fmla="*/ 3594982 h 5145436"/>
              <a:gd name="csX21" fmla="*/ 2590973 w 4843674"/>
              <a:gd name="csY21" fmla="*/ 3548353 h 5145436"/>
              <a:gd name="csX22" fmla="*/ 2249437 w 4843674"/>
              <a:gd name="csY22" fmla="*/ 4172717 h 5145436"/>
              <a:gd name="csX23" fmla="*/ 4265468 w 4843674"/>
              <a:gd name="csY23" fmla="*/ 4129854 h 5145436"/>
              <a:gd name="csX24" fmla="*/ 4194810 w 4843674"/>
              <a:gd name="csY24" fmla="*/ 4165314 h 5145436"/>
              <a:gd name="csX25" fmla="*/ 2421277 w 4843674"/>
              <a:gd name="csY25" fmla="*/ 4142648 h 5145436"/>
              <a:gd name="csX26" fmla="*/ 2803337 w 4843674"/>
              <a:gd name="csY26" fmla="*/ 3399568 h 5145436"/>
              <a:gd name="csX27" fmla="*/ 4649932 w 4843674"/>
              <a:gd name="csY27" fmla="*/ 3399568 h 5145436"/>
              <a:gd name="csX28" fmla="*/ 4265468 w 4843674"/>
              <a:gd name="csY28" fmla="*/ 4129854 h 5145436"/>
              <a:gd name="csX29" fmla="*/ 2775931 w 4843674"/>
              <a:gd name="csY29" fmla="*/ 3276566 h 5145436"/>
              <a:gd name="csX30" fmla="*/ 1371080 w 4843674"/>
              <a:gd name="csY30" fmla="*/ 4142908 h 5145436"/>
              <a:gd name="csX31" fmla="*/ 617220 w 4843674"/>
              <a:gd name="csY31" fmla="*/ 171567 h 5145436"/>
              <a:gd name="csX32" fmla="*/ 4692340 w 4843674"/>
              <a:gd name="csY32" fmla="*/ 3293126 h 5145436"/>
              <a:gd name="csX33" fmla="*/ 2775931 w 4843674"/>
              <a:gd name="csY33" fmla="*/ 3276566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4843674" h="5145436">
                <a:moveTo>
                  <a:pt x="4821122" y="3217468"/>
                </a:moveTo>
                <a:lnTo>
                  <a:pt x="658719" y="12976"/>
                </a:lnTo>
                <a:cubicBezTo>
                  <a:pt x="617999" y="-8845"/>
                  <a:pt x="527144" y="-2740"/>
                  <a:pt x="495062" y="28238"/>
                </a:cubicBezTo>
                <a:lnTo>
                  <a:pt x="18119" y="899386"/>
                </a:lnTo>
                <a:lnTo>
                  <a:pt x="0" y="1010244"/>
                </a:lnTo>
                <a:lnTo>
                  <a:pt x="750289" y="5018407"/>
                </a:lnTo>
                <a:cubicBezTo>
                  <a:pt x="767304" y="5138552"/>
                  <a:pt x="844586" y="5168231"/>
                  <a:pt x="955899" y="5129395"/>
                </a:cubicBezTo>
                <a:lnTo>
                  <a:pt x="2330161" y="4274743"/>
                </a:lnTo>
                <a:lnTo>
                  <a:pt x="4331386" y="4259546"/>
                </a:lnTo>
                <a:lnTo>
                  <a:pt x="4824564" y="3372747"/>
                </a:lnTo>
                <a:cubicBezTo>
                  <a:pt x="4845865" y="3323910"/>
                  <a:pt x="4855217" y="3262928"/>
                  <a:pt x="4821122" y="3217468"/>
                </a:cubicBezTo>
                <a:close/>
                <a:moveTo>
                  <a:pt x="892709" y="4907354"/>
                </a:moveTo>
                <a:cubicBezTo>
                  <a:pt x="857315" y="4941839"/>
                  <a:pt x="856211" y="4902159"/>
                  <a:pt x="851275" y="4875208"/>
                </a:cubicBezTo>
                <a:cubicBezTo>
                  <a:pt x="616051" y="3585436"/>
                  <a:pt x="371995" y="2297742"/>
                  <a:pt x="128458" y="1009594"/>
                </a:cubicBezTo>
                <a:cubicBezTo>
                  <a:pt x="219833" y="758719"/>
                  <a:pt x="371150" y="531288"/>
                  <a:pt x="500452" y="298986"/>
                </a:cubicBezTo>
                <a:lnTo>
                  <a:pt x="1248792" y="4221425"/>
                </a:lnTo>
                <a:lnTo>
                  <a:pt x="892709" y="4907354"/>
                </a:lnTo>
                <a:close/>
                <a:moveTo>
                  <a:pt x="2249437" y="4172717"/>
                </a:moveTo>
                <a:lnTo>
                  <a:pt x="1020517" y="4928526"/>
                </a:lnTo>
                <a:lnTo>
                  <a:pt x="1350169" y="4292342"/>
                </a:lnTo>
                <a:cubicBezTo>
                  <a:pt x="1736451" y="4083485"/>
                  <a:pt x="2097470" y="3809230"/>
                  <a:pt x="2478621" y="3594982"/>
                </a:cubicBezTo>
                <a:cubicBezTo>
                  <a:pt x="2499013" y="3583552"/>
                  <a:pt x="2576166" y="3534001"/>
                  <a:pt x="2590973" y="3548353"/>
                </a:cubicBezTo>
                <a:lnTo>
                  <a:pt x="2249437" y="4172717"/>
                </a:lnTo>
                <a:close/>
                <a:moveTo>
                  <a:pt x="4265468" y="4129854"/>
                </a:moveTo>
                <a:lnTo>
                  <a:pt x="4194810" y="4165314"/>
                </a:lnTo>
                <a:lnTo>
                  <a:pt x="2421277" y="4142648"/>
                </a:lnTo>
                <a:lnTo>
                  <a:pt x="2803337" y="3399568"/>
                </a:lnTo>
                <a:lnTo>
                  <a:pt x="4649932" y="3399568"/>
                </a:lnTo>
                <a:lnTo>
                  <a:pt x="4265468" y="4129854"/>
                </a:lnTo>
                <a:close/>
                <a:moveTo>
                  <a:pt x="2775931" y="3276566"/>
                </a:moveTo>
                <a:lnTo>
                  <a:pt x="1371080" y="4142908"/>
                </a:lnTo>
                <a:lnTo>
                  <a:pt x="617220" y="171567"/>
                </a:lnTo>
                <a:lnTo>
                  <a:pt x="4692340" y="3293126"/>
                </a:lnTo>
                <a:lnTo>
                  <a:pt x="2775931" y="3276566"/>
                </a:lnTo>
                <a:close/>
              </a:path>
            </a:pathLst>
          </a:custGeom>
          <a:solidFill>
            <a:schemeClr val="accent3">
              <a:alpha val="40000"/>
            </a:schemeClr>
          </a:solidFill>
          <a:ln w="6486" cap="flat">
            <a:noFill/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757EF8B-F6A1-D451-CB14-82D2EF1EA3A1}"/>
              </a:ext>
            </a:extLst>
          </p:cNvPr>
          <p:cNvSpPr/>
          <p:nvPr/>
        </p:nvSpPr>
        <p:spPr>
          <a:xfrm rot="20700000">
            <a:off x="7427250" y="2893566"/>
            <a:ext cx="1765462" cy="2341696"/>
          </a:xfrm>
          <a:custGeom>
            <a:avLst/>
            <a:gdLst>
              <a:gd name="csX0" fmla="*/ 326865 w 1765462"/>
              <a:gd name="csY0" fmla="*/ 947 h 2341696"/>
              <a:gd name="csX1" fmla="*/ 347009 w 1765462"/>
              <a:gd name="csY1" fmla="*/ 6836 h 2341696"/>
              <a:gd name="csX2" fmla="*/ 1765462 w 1765462"/>
              <a:gd name="csY2" fmla="*/ 1098854 h 2341696"/>
              <a:gd name="csX3" fmla="*/ 1744383 w 1765462"/>
              <a:gd name="csY3" fmla="*/ 1177521 h 2341696"/>
              <a:gd name="csX4" fmla="*/ 325147 w 1765462"/>
              <a:gd name="csY4" fmla="*/ 90380 h 2341696"/>
              <a:gd name="csX5" fmla="*/ 722276 w 1765462"/>
              <a:gd name="csY5" fmla="*/ 2182456 h 2341696"/>
              <a:gd name="csX6" fmla="*/ 1462341 w 1765462"/>
              <a:gd name="csY6" fmla="*/ 1726072 h 2341696"/>
              <a:gd name="csX7" fmla="*/ 1597087 w 1765462"/>
              <a:gd name="csY7" fmla="*/ 1727237 h 2341696"/>
              <a:gd name="csX8" fmla="*/ 1580037 w 1765462"/>
              <a:gd name="csY8" fmla="*/ 1790869 h 2341696"/>
              <a:gd name="csX9" fmla="*/ 1476779 w 1765462"/>
              <a:gd name="csY9" fmla="*/ 1790869 h 2341696"/>
              <a:gd name="csX10" fmla="*/ 1275512 w 1765462"/>
              <a:gd name="csY10" fmla="*/ 2182319 h 2341696"/>
              <a:gd name="csX11" fmla="*/ 1474467 w 1765462"/>
              <a:gd name="csY11" fmla="*/ 2184861 h 2341696"/>
              <a:gd name="csX12" fmla="*/ 1456970 w 1765462"/>
              <a:gd name="csY12" fmla="*/ 2250162 h 2341696"/>
              <a:gd name="csX13" fmla="*/ 1227512 w 1765462"/>
              <a:gd name="csY13" fmla="*/ 2251905 h 2341696"/>
              <a:gd name="csX14" fmla="*/ 1083130 w 1765462"/>
              <a:gd name="csY14" fmla="*/ 2341696 h 2341696"/>
              <a:gd name="csX15" fmla="*/ 991515 w 1765462"/>
              <a:gd name="csY15" fmla="*/ 2317148 h 2341696"/>
              <a:gd name="csX16" fmla="*/ 1184988 w 1765462"/>
              <a:gd name="csY16" fmla="*/ 2198158 h 2341696"/>
              <a:gd name="csX17" fmla="*/ 1364907 w 1765462"/>
              <a:gd name="csY17" fmla="*/ 1869248 h 2341696"/>
              <a:gd name="csX18" fmla="*/ 1305721 w 1765462"/>
              <a:gd name="csY18" fmla="*/ 1893812 h 2341696"/>
              <a:gd name="csX19" fmla="*/ 861756 w 1765462"/>
              <a:gd name="csY19" fmla="*/ 2173230 h 2341696"/>
              <a:gd name="csX20" fmla="*/ 733696 w 1765462"/>
              <a:gd name="csY20" fmla="*/ 2248066 h 2341696"/>
              <a:gd name="csX21" fmla="*/ 656065 w 1765462"/>
              <a:gd name="csY21" fmla="*/ 2227265 h 2341696"/>
              <a:gd name="csX22" fmla="*/ 657855 w 1765462"/>
              <a:gd name="csY22" fmla="*/ 2223818 h 2341696"/>
              <a:gd name="csX23" fmla="*/ 263634 w 1765462"/>
              <a:gd name="csY23" fmla="*/ 157504 h 2341696"/>
              <a:gd name="csX24" fmla="*/ 67671 w 1765462"/>
              <a:gd name="csY24" fmla="*/ 531847 h 2341696"/>
              <a:gd name="csX25" fmla="*/ 370377 w 1765462"/>
              <a:gd name="csY25" fmla="*/ 2150715 h 2341696"/>
              <a:gd name="csX26" fmla="*/ 299412 w 1765462"/>
              <a:gd name="csY26" fmla="*/ 2131700 h 2341696"/>
              <a:gd name="csX27" fmla="*/ 0 w 1765462"/>
              <a:gd name="csY27" fmla="*/ 532190 h 2341696"/>
              <a:gd name="csX28" fmla="*/ 9545 w 1765462"/>
              <a:gd name="csY28" fmla="*/ 473790 h 2341696"/>
              <a:gd name="csX29" fmla="*/ 260795 w 1765462"/>
              <a:gd name="csY29" fmla="*/ 14876 h 2341696"/>
              <a:gd name="csX30" fmla="*/ 326865 w 1765462"/>
              <a:gd name="csY30" fmla="*/ 947 h 23416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1765462" h="2341696">
                <a:moveTo>
                  <a:pt x="326865" y="947"/>
                </a:moveTo>
                <a:cubicBezTo>
                  <a:pt x="334633" y="2007"/>
                  <a:pt x="341646" y="3962"/>
                  <a:pt x="347009" y="6836"/>
                </a:cubicBezTo>
                <a:lnTo>
                  <a:pt x="1765462" y="1098854"/>
                </a:lnTo>
                <a:lnTo>
                  <a:pt x="1744383" y="1177521"/>
                </a:lnTo>
                <a:lnTo>
                  <a:pt x="325147" y="90380"/>
                </a:lnTo>
                <a:lnTo>
                  <a:pt x="722276" y="2182456"/>
                </a:lnTo>
                <a:lnTo>
                  <a:pt x="1462341" y="1726072"/>
                </a:lnTo>
                <a:lnTo>
                  <a:pt x="1597087" y="1727237"/>
                </a:lnTo>
                <a:lnTo>
                  <a:pt x="1580037" y="1790869"/>
                </a:lnTo>
                <a:lnTo>
                  <a:pt x="1476779" y="1790869"/>
                </a:lnTo>
                <a:lnTo>
                  <a:pt x="1275512" y="2182319"/>
                </a:lnTo>
                <a:lnTo>
                  <a:pt x="1474467" y="2184861"/>
                </a:lnTo>
                <a:lnTo>
                  <a:pt x="1456970" y="2250162"/>
                </a:lnTo>
                <a:lnTo>
                  <a:pt x="1227512" y="2251905"/>
                </a:lnTo>
                <a:lnTo>
                  <a:pt x="1083130" y="2341696"/>
                </a:lnTo>
                <a:lnTo>
                  <a:pt x="991515" y="2317148"/>
                </a:lnTo>
                <a:lnTo>
                  <a:pt x="1184988" y="2198158"/>
                </a:lnTo>
                <a:lnTo>
                  <a:pt x="1364907" y="1869248"/>
                </a:lnTo>
                <a:cubicBezTo>
                  <a:pt x="1357107" y="1861688"/>
                  <a:pt x="1316463" y="1887791"/>
                  <a:pt x="1305721" y="1893812"/>
                </a:cubicBezTo>
                <a:cubicBezTo>
                  <a:pt x="1155130" y="1978460"/>
                  <a:pt x="1010504" y="2080889"/>
                  <a:pt x="861756" y="2173230"/>
                </a:cubicBezTo>
                <a:lnTo>
                  <a:pt x="733696" y="2248066"/>
                </a:lnTo>
                <a:lnTo>
                  <a:pt x="656065" y="2227265"/>
                </a:lnTo>
                <a:lnTo>
                  <a:pt x="657855" y="2223818"/>
                </a:lnTo>
                <a:lnTo>
                  <a:pt x="263634" y="157504"/>
                </a:lnTo>
                <a:cubicBezTo>
                  <a:pt x="195519" y="279879"/>
                  <a:pt x="115806" y="399688"/>
                  <a:pt x="67671" y="531847"/>
                </a:cubicBezTo>
                <a:lnTo>
                  <a:pt x="370377" y="2150715"/>
                </a:lnTo>
                <a:lnTo>
                  <a:pt x="299412" y="2131700"/>
                </a:lnTo>
                <a:lnTo>
                  <a:pt x="0" y="532190"/>
                </a:lnTo>
                <a:lnTo>
                  <a:pt x="9545" y="473790"/>
                </a:lnTo>
                <a:lnTo>
                  <a:pt x="260795" y="14876"/>
                </a:lnTo>
                <a:cubicBezTo>
                  <a:pt x="273471" y="2636"/>
                  <a:pt x="303562" y="-2233"/>
                  <a:pt x="326865" y="947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F2FFF0D-1C57-A519-035D-C5CA52985FF0}"/>
              </a:ext>
            </a:extLst>
          </p:cNvPr>
          <p:cNvSpPr/>
          <p:nvPr/>
        </p:nvSpPr>
        <p:spPr>
          <a:xfrm flipV="1">
            <a:off x="0" y="2189259"/>
            <a:ext cx="3994499" cy="2954241"/>
          </a:xfrm>
          <a:custGeom>
            <a:avLst/>
            <a:gdLst>
              <a:gd name="csX0" fmla="*/ 1295515 w 3994499"/>
              <a:gd name="csY0" fmla="*/ 1380130 h 2954241"/>
              <a:gd name="csX1" fmla="*/ 790120 w 3994499"/>
              <a:gd name="csY1" fmla="*/ 2363087 h 2954241"/>
              <a:gd name="csX2" fmla="*/ 3136172 w 3994499"/>
              <a:gd name="csY2" fmla="*/ 2393069 h 2954241"/>
              <a:gd name="csX3" fmla="*/ 3229640 w 3994499"/>
              <a:gd name="csY3" fmla="*/ 2346163 h 2954241"/>
              <a:gd name="csX4" fmla="*/ 3738213 w 3994499"/>
              <a:gd name="csY4" fmla="*/ 1380130 h 2954241"/>
              <a:gd name="csX5" fmla="*/ 2176400 w 3994499"/>
              <a:gd name="csY5" fmla="*/ 0 h 2954241"/>
              <a:gd name="csX6" fmla="*/ 2484870 w 3994499"/>
              <a:gd name="csY6" fmla="*/ 0 h 2954241"/>
              <a:gd name="csX7" fmla="*/ 3964666 w 3994499"/>
              <a:gd name="csY7" fmla="*/ 1139245 h 2954241"/>
              <a:gd name="csX8" fmla="*/ 3969219 w 3994499"/>
              <a:gd name="csY8" fmla="*/ 1344651 h 2954241"/>
              <a:gd name="csX9" fmla="*/ 3316836 w 3994499"/>
              <a:gd name="csY9" fmla="*/ 2517721 h 2954241"/>
              <a:gd name="csX10" fmla="*/ 669591 w 3994499"/>
              <a:gd name="csY10" fmla="*/ 2537823 h 2954241"/>
              <a:gd name="csX11" fmla="*/ 0 w 3994499"/>
              <a:gd name="csY11" fmla="*/ 2954241 h 2954241"/>
              <a:gd name="csX12" fmla="*/ 0 w 3994499"/>
              <a:gd name="csY12" fmla="*/ 2749000 h 2954241"/>
              <a:gd name="csX13" fmla="*/ 562808 w 3994499"/>
              <a:gd name="csY13" fmla="*/ 2402862 h 2954241"/>
              <a:gd name="csX14" fmla="*/ 1014596 w 3994499"/>
              <a:gd name="csY14" fmla="*/ 1576945 h 2954241"/>
              <a:gd name="csX15" fmla="*/ 865976 w 3994499"/>
              <a:gd name="csY15" fmla="*/ 1638627 h 2954241"/>
              <a:gd name="csX16" fmla="*/ 122155 w 3994499"/>
              <a:gd name="csY16" fmla="*/ 2102539 h 2954241"/>
              <a:gd name="csX17" fmla="*/ 0 w 3994499"/>
              <a:gd name="csY17" fmla="*/ 2180812 h 2954241"/>
              <a:gd name="csX18" fmla="*/ 0 w 3994499"/>
              <a:gd name="csY18" fmla="*/ 1993982 h 2954241"/>
              <a:gd name="csX19" fmla="*/ 1259261 w 3994499"/>
              <a:gd name="csY19" fmla="*/ 1217421 h 2954241"/>
              <a:gd name="csX20" fmla="*/ 3794311 w 3994499"/>
              <a:gd name="csY20" fmla="*/ 1239328 h 295424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3994499" h="2954241">
                <a:moveTo>
                  <a:pt x="1295515" y="1380130"/>
                </a:moveTo>
                <a:lnTo>
                  <a:pt x="790120" y="2363087"/>
                </a:lnTo>
                <a:lnTo>
                  <a:pt x="3136172" y="2393069"/>
                </a:lnTo>
                <a:lnTo>
                  <a:pt x="3229640" y="2346163"/>
                </a:lnTo>
                <a:lnTo>
                  <a:pt x="3738213" y="1380130"/>
                </a:lnTo>
                <a:close/>
                <a:moveTo>
                  <a:pt x="2176400" y="0"/>
                </a:moveTo>
                <a:lnTo>
                  <a:pt x="2484870" y="0"/>
                </a:lnTo>
                <a:lnTo>
                  <a:pt x="3964666" y="1139245"/>
                </a:lnTo>
                <a:cubicBezTo>
                  <a:pt x="4009767" y="1199381"/>
                  <a:pt x="3997397" y="1280048"/>
                  <a:pt x="3969219" y="1344651"/>
                </a:cubicBezTo>
                <a:lnTo>
                  <a:pt x="3316836" y="2517721"/>
                </a:lnTo>
                <a:lnTo>
                  <a:pt x="669591" y="2537823"/>
                </a:lnTo>
                <a:lnTo>
                  <a:pt x="0" y="2954241"/>
                </a:lnTo>
                <a:lnTo>
                  <a:pt x="0" y="2749000"/>
                </a:lnTo>
                <a:lnTo>
                  <a:pt x="562808" y="2402862"/>
                </a:lnTo>
                <a:lnTo>
                  <a:pt x="1014596" y="1576945"/>
                </a:lnTo>
                <a:cubicBezTo>
                  <a:pt x="995009" y="1557959"/>
                  <a:pt x="892951" y="1623507"/>
                  <a:pt x="865976" y="1638627"/>
                </a:cubicBezTo>
                <a:cubicBezTo>
                  <a:pt x="613880" y="1780332"/>
                  <a:pt x="368442" y="1941881"/>
                  <a:pt x="122155" y="2102539"/>
                </a:cubicBezTo>
                <a:lnTo>
                  <a:pt x="0" y="2180812"/>
                </a:lnTo>
                <a:lnTo>
                  <a:pt x="0" y="1993982"/>
                </a:lnTo>
                <a:lnTo>
                  <a:pt x="1259261" y="1217421"/>
                </a:lnTo>
                <a:lnTo>
                  <a:pt x="3794311" y="1239328"/>
                </a:lnTo>
                <a:close/>
              </a:path>
            </a:pathLst>
          </a:custGeom>
          <a:solidFill>
            <a:schemeClr val="accent2">
              <a:alpha val="10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8BEC515-899F-BB2D-F1DF-8922C9E14506}"/>
              </a:ext>
            </a:extLst>
          </p:cNvPr>
          <p:cNvSpPr>
            <a:spLocks/>
          </p:cNvSpPr>
          <p:nvPr/>
        </p:nvSpPr>
        <p:spPr>
          <a:xfrm>
            <a:off x="0" y="3152402"/>
            <a:ext cx="9144000" cy="198546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6BC6A3A6-42A1-D9BD-AB40-0BA0C1480616}"/>
              </a:ext>
            </a:extLst>
          </p:cNvPr>
          <p:cNvSpPr txBox="1"/>
          <p:nvPr/>
        </p:nvSpPr>
        <p:spPr>
          <a:xfrm>
            <a:off x="516855" y="1994439"/>
            <a:ext cx="2664296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fr-FR" sz="4000" i="1" dirty="0">
                <a:solidFill>
                  <a:schemeClr val="bg1"/>
                </a:solidFill>
                <a:latin typeface="Rift Demi" panose="00000500000000000000" pitchFamily="50" charset="0"/>
              </a:rPr>
              <a:t>PROGRAMME</a:t>
            </a:r>
          </a:p>
        </p:txBody>
      </p: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F794523A-996D-0B3B-DDB3-980ABFBB6B84}"/>
              </a:ext>
            </a:extLst>
          </p:cNvPr>
          <p:cNvCxnSpPr>
            <a:cxnSpLocks/>
          </p:cNvCxnSpPr>
          <p:nvPr/>
        </p:nvCxnSpPr>
        <p:spPr>
          <a:xfrm flipV="1">
            <a:off x="2998141" y="916130"/>
            <a:ext cx="911196" cy="2650314"/>
          </a:xfrm>
          <a:prstGeom prst="line">
            <a:avLst/>
          </a:prstGeom>
          <a:ln w="6350">
            <a:solidFill>
              <a:schemeClr val="bg1">
                <a:alpha val="28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E3780881-412E-A8DF-76FC-ECF11152628A}"/>
              </a:ext>
            </a:extLst>
          </p:cNvPr>
          <p:cNvSpPr txBox="1">
            <a:spLocks/>
          </p:cNvSpPr>
          <p:nvPr/>
        </p:nvSpPr>
        <p:spPr>
          <a:xfrm>
            <a:off x="4149711" y="705853"/>
            <a:ext cx="145733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8H 30’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C77E5C4-668F-AA41-C9C8-5B985320A7D5}"/>
              </a:ext>
            </a:extLst>
          </p:cNvPr>
          <p:cNvSpPr txBox="1">
            <a:spLocks/>
          </p:cNvSpPr>
          <p:nvPr/>
        </p:nvSpPr>
        <p:spPr>
          <a:xfrm>
            <a:off x="4079849" y="1089384"/>
            <a:ext cx="1527196" cy="1014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ccueil café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AF333D0-5B40-F39A-888F-B3EB2933CFA1}"/>
              </a:ext>
            </a:extLst>
          </p:cNvPr>
          <p:cNvSpPr txBox="1">
            <a:spLocks/>
          </p:cNvSpPr>
          <p:nvPr/>
        </p:nvSpPr>
        <p:spPr>
          <a:xfrm>
            <a:off x="3879121" y="1545863"/>
            <a:ext cx="172792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9h 15’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D1D0E956-69EE-B4B6-697F-285F43F27BAB}"/>
              </a:ext>
            </a:extLst>
          </p:cNvPr>
          <p:cNvSpPr txBox="1">
            <a:spLocks/>
          </p:cNvSpPr>
          <p:nvPr/>
        </p:nvSpPr>
        <p:spPr>
          <a:xfrm>
            <a:off x="3809261" y="1929394"/>
            <a:ext cx="1797785" cy="1014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uvertur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008D0E-1E7D-9E99-645D-752C6F9A3F38}"/>
              </a:ext>
            </a:extLst>
          </p:cNvPr>
          <p:cNvCxnSpPr>
            <a:cxnSpLocks/>
          </p:cNvCxnSpPr>
          <p:nvPr/>
        </p:nvCxnSpPr>
        <p:spPr>
          <a:xfrm rot="1138399">
            <a:off x="3940883" y="766090"/>
            <a:ext cx="1289" cy="1540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340AB2F4-79A5-9A05-93B9-BEBAE84AA03B}"/>
              </a:ext>
            </a:extLst>
          </p:cNvPr>
          <p:cNvCxnSpPr>
            <a:cxnSpLocks/>
          </p:cNvCxnSpPr>
          <p:nvPr/>
        </p:nvCxnSpPr>
        <p:spPr>
          <a:xfrm rot="1138399">
            <a:off x="3628646" y="1653521"/>
            <a:ext cx="1289" cy="1540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1" name="TextBox 330">
            <a:extLst>
              <a:ext uri="{FF2B5EF4-FFF2-40B4-BE49-F238E27FC236}">
                <a16:creationId xmlns:a16="http://schemas.microsoft.com/office/drawing/2014/main" id="{0C254ACC-9A27-AD03-1887-771C8D402EBF}"/>
              </a:ext>
            </a:extLst>
          </p:cNvPr>
          <p:cNvSpPr txBox="1">
            <a:spLocks/>
          </p:cNvSpPr>
          <p:nvPr/>
        </p:nvSpPr>
        <p:spPr>
          <a:xfrm>
            <a:off x="3221663" y="3413560"/>
            <a:ext cx="238538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09H 30’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2746B4D8-A70A-1CFD-2619-CD2E9B91AFD6}"/>
              </a:ext>
            </a:extLst>
          </p:cNvPr>
          <p:cNvSpPr txBox="1">
            <a:spLocks/>
          </p:cNvSpPr>
          <p:nvPr/>
        </p:nvSpPr>
        <p:spPr>
          <a:xfrm>
            <a:off x="3151803" y="3797091"/>
            <a:ext cx="2455243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1</a:t>
            </a:r>
            <a:r>
              <a:rPr kumimoji="0" lang="fr-FR" sz="1000" b="0" i="0" u="none" kern="1200" cap="none" spc="0" normalizeH="0" baseline="3000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ÈR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mment mieux recruter en alternance </a:t>
            </a:r>
            <a:b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ans nos branches ?</a:t>
            </a:r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97D842D7-D12F-21D1-EFD0-1E8623FE1408}"/>
              </a:ext>
            </a:extLst>
          </p:cNvPr>
          <p:cNvCxnSpPr>
            <a:cxnSpLocks/>
          </p:cNvCxnSpPr>
          <p:nvPr/>
        </p:nvCxnSpPr>
        <p:spPr>
          <a:xfrm rot="1138399">
            <a:off x="2990992" y="3533157"/>
            <a:ext cx="1289" cy="15401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2" name="TextBox 261">
            <a:extLst>
              <a:ext uri="{FF2B5EF4-FFF2-40B4-BE49-F238E27FC236}">
                <a16:creationId xmlns:a16="http://schemas.microsoft.com/office/drawing/2014/main" id="{EEFECBC1-AC3D-1724-5A5B-90D9C67A5D56}"/>
              </a:ext>
            </a:extLst>
          </p:cNvPr>
          <p:cNvSpPr txBox="1"/>
          <p:nvPr/>
        </p:nvSpPr>
        <p:spPr>
          <a:xfrm>
            <a:off x="3539042" y="2399890"/>
            <a:ext cx="2299623" cy="430887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</a:t>
            </a: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 09h15 </a:t>
            </a:r>
            <a:r>
              <a:rPr kumimoji="0" lang="fr-FR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à</a:t>
            </a: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 12h30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EE31D222-C2A0-83E8-FF22-0C5B2C89EC64}"/>
              </a:ext>
            </a:extLst>
          </p:cNvPr>
          <p:cNvSpPr txBox="1"/>
          <p:nvPr/>
        </p:nvSpPr>
        <p:spPr>
          <a:xfrm>
            <a:off x="5045061" y="2712406"/>
            <a:ext cx="730362" cy="333425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21600" tIns="0" rIns="18000" bIns="0" rtlCol="0" anchor="ctr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100" i="1" dirty="0">
                <a:solidFill>
                  <a:schemeClr val="bg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Mardi 08 </a:t>
            </a:r>
            <a:r>
              <a:rPr lang="fr-FR" sz="1400" i="1" dirty="0">
                <a:solidFill>
                  <a:schemeClr val="accent2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avril 2025 </a:t>
            </a:r>
            <a:endParaRPr lang="fr-FR" sz="2800" i="1" dirty="0">
              <a:solidFill>
                <a:schemeClr val="accent2"/>
              </a:solidFill>
              <a:latin typeface="Rift Demi" panose="00000500000000000000" pitchFamily="50" charset="0"/>
              <a:cs typeface="Circular Std Bold" panose="020B0804020101010102" pitchFamily="34" charset="0"/>
            </a:endParaRPr>
          </a:p>
        </p:txBody>
      </p: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926DFD78-297E-ED58-3351-07804A01F5C1}"/>
              </a:ext>
            </a:extLst>
          </p:cNvPr>
          <p:cNvCxnSpPr>
            <a:cxnSpLocks/>
          </p:cNvCxnSpPr>
          <p:nvPr/>
        </p:nvCxnSpPr>
        <p:spPr>
          <a:xfrm flipV="1">
            <a:off x="5728785" y="916130"/>
            <a:ext cx="947496" cy="2755897"/>
          </a:xfrm>
          <a:prstGeom prst="line">
            <a:avLst/>
          </a:prstGeom>
          <a:ln w="6350">
            <a:solidFill>
              <a:schemeClr val="bg1">
                <a:alpha val="28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9" name="TextBox 348">
            <a:extLst>
              <a:ext uri="{FF2B5EF4-FFF2-40B4-BE49-F238E27FC236}">
                <a16:creationId xmlns:a16="http://schemas.microsoft.com/office/drawing/2014/main" id="{7E20A5A6-06FC-E5E6-36FA-931DF71C4AB1}"/>
              </a:ext>
            </a:extLst>
          </p:cNvPr>
          <p:cNvSpPr txBox="1">
            <a:spLocks/>
          </p:cNvSpPr>
          <p:nvPr/>
        </p:nvSpPr>
        <p:spPr>
          <a:xfrm>
            <a:off x="6916654" y="705853"/>
            <a:ext cx="159242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0h 25’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A8458790-ED3F-E58F-89C6-6F2DA44DBABF}"/>
              </a:ext>
            </a:extLst>
          </p:cNvPr>
          <p:cNvSpPr txBox="1">
            <a:spLocks/>
          </p:cNvSpPr>
          <p:nvPr/>
        </p:nvSpPr>
        <p:spPr>
          <a:xfrm>
            <a:off x="6846795" y="1089385"/>
            <a:ext cx="1662286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2</a:t>
            </a:r>
            <a:r>
              <a:rPr kumimoji="0" lang="fr-FR" sz="1000" b="0" i="0" u="none" strike="noStrike" kern="1200" cap="none" spc="0" normalizeH="0" baseline="3000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EM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mment favoriser les parcours d'alternance innovants et de qualité dans l'enseignement supérieur?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4ECB014-1647-F832-5132-89DC6D3EF57B}"/>
              </a:ext>
            </a:extLst>
          </p:cNvPr>
          <p:cNvSpPr txBox="1">
            <a:spLocks/>
          </p:cNvSpPr>
          <p:nvPr/>
        </p:nvSpPr>
        <p:spPr>
          <a:xfrm>
            <a:off x="6569582" y="1690496"/>
            <a:ext cx="193949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1h 25’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9332D99C-C25F-0BE0-AE86-36FC3DCD2E1A}"/>
              </a:ext>
            </a:extLst>
          </p:cNvPr>
          <p:cNvSpPr txBox="1">
            <a:spLocks/>
          </p:cNvSpPr>
          <p:nvPr/>
        </p:nvSpPr>
        <p:spPr>
          <a:xfrm>
            <a:off x="6499722" y="2074028"/>
            <a:ext cx="2009359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3</a:t>
            </a:r>
            <a:r>
              <a:rPr kumimoji="0" lang="fr-FR" sz="1000" b="0" i="0" u="none" strike="noStrike" kern="1200" cap="none" spc="0" normalizeH="0" baseline="3000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ÈM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 TABLE-RON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Quels enjeux de développement de l'alternance dans les filières d'ingénieurs ?</a:t>
            </a:r>
          </a:p>
        </p:txBody>
      </p: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105DB394-7BDF-3D1E-2644-2CC3B429CC22}"/>
              </a:ext>
            </a:extLst>
          </p:cNvPr>
          <p:cNvCxnSpPr>
            <a:cxnSpLocks/>
          </p:cNvCxnSpPr>
          <p:nvPr/>
        </p:nvCxnSpPr>
        <p:spPr>
          <a:xfrm rot="1138399">
            <a:off x="6707827" y="766090"/>
            <a:ext cx="1289" cy="15401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AA673890-AEAC-814F-7EE9-432D57058054}"/>
              </a:ext>
            </a:extLst>
          </p:cNvPr>
          <p:cNvCxnSpPr>
            <a:cxnSpLocks/>
          </p:cNvCxnSpPr>
          <p:nvPr/>
        </p:nvCxnSpPr>
        <p:spPr>
          <a:xfrm rot="1138399">
            <a:off x="6353044" y="1780608"/>
            <a:ext cx="1289" cy="15401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1" name="TextBox 360">
            <a:extLst>
              <a:ext uri="{FF2B5EF4-FFF2-40B4-BE49-F238E27FC236}">
                <a16:creationId xmlns:a16="http://schemas.microsoft.com/office/drawing/2014/main" id="{17339853-53EF-2238-983E-E9B8330D0639}"/>
              </a:ext>
            </a:extLst>
          </p:cNvPr>
          <p:cNvSpPr txBox="1">
            <a:spLocks/>
          </p:cNvSpPr>
          <p:nvPr/>
        </p:nvSpPr>
        <p:spPr>
          <a:xfrm>
            <a:off x="5979802" y="3413560"/>
            <a:ext cx="25292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2h 30’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B424B24A-AB80-2A49-E14A-8709CB7F20C1}"/>
              </a:ext>
            </a:extLst>
          </p:cNvPr>
          <p:cNvSpPr txBox="1">
            <a:spLocks/>
          </p:cNvSpPr>
          <p:nvPr/>
        </p:nvSpPr>
        <p:spPr>
          <a:xfrm>
            <a:off x="5909940" y="3797091"/>
            <a:ext cx="2599141" cy="1014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cktail déjeunatoire</a:t>
            </a:r>
          </a:p>
        </p:txBody>
      </p: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56D87B8C-5516-2751-8E0A-62D7D2CBFD56}"/>
              </a:ext>
            </a:extLst>
          </p:cNvPr>
          <p:cNvCxnSpPr>
            <a:cxnSpLocks/>
          </p:cNvCxnSpPr>
          <p:nvPr/>
        </p:nvCxnSpPr>
        <p:spPr>
          <a:xfrm rot="1138399">
            <a:off x="5749131" y="3533157"/>
            <a:ext cx="1289" cy="1540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6" name="TextBox 365">
            <a:extLst>
              <a:ext uri="{FF2B5EF4-FFF2-40B4-BE49-F238E27FC236}">
                <a16:creationId xmlns:a16="http://schemas.microsoft.com/office/drawing/2014/main" id="{2DD7E12E-4A8E-159A-4FCD-CDC72807BC15}"/>
              </a:ext>
            </a:extLst>
          </p:cNvPr>
          <p:cNvSpPr txBox="1">
            <a:spLocks/>
          </p:cNvSpPr>
          <p:nvPr/>
        </p:nvSpPr>
        <p:spPr>
          <a:xfrm>
            <a:off x="6243194" y="2675139"/>
            <a:ext cx="226588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2h 10’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2BD75B4-3DC3-C797-CBF4-369FBDCA0C8E}"/>
              </a:ext>
            </a:extLst>
          </p:cNvPr>
          <p:cNvSpPr txBox="1">
            <a:spLocks/>
          </p:cNvSpPr>
          <p:nvPr/>
        </p:nvSpPr>
        <p:spPr>
          <a:xfrm>
            <a:off x="6173333" y="3058670"/>
            <a:ext cx="135099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lôture</a:t>
            </a:r>
          </a:p>
        </p:txBody>
      </p: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D7292E73-69DB-E8CB-3011-12A48CD42A0F}"/>
              </a:ext>
            </a:extLst>
          </p:cNvPr>
          <p:cNvCxnSpPr>
            <a:cxnSpLocks/>
          </p:cNvCxnSpPr>
          <p:nvPr/>
        </p:nvCxnSpPr>
        <p:spPr>
          <a:xfrm rot="1138399">
            <a:off x="6026655" y="2741428"/>
            <a:ext cx="1289" cy="1540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96AA2EAA-E60F-004D-C7C5-36F31B4CC370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8080" y="236678"/>
            <a:ext cx="392461" cy="127622"/>
          </a:xfrm>
          <a:prstGeom prst="rect">
            <a:avLst/>
          </a:prstGeom>
        </p:spPr>
      </p:pic>
      <p:sp>
        <p:nvSpPr>
          <p:cNvPr id="9" name="Graphic 125">
            <a:extLst>
              <a:ext uri="{FF2B5EF4-FFF2-40B4-BE49-F238E27FC236}">
                <a16:creationId xmlns:a16="http://schemas.microsoft.com/office/drawing/2014/main" id="{326B350E-B4AB-1806-33A1-BE344349A44D}"/>
              </a:ext>
            </a:extLst>
          </p:cNvPr>
          <p:cNvSpPr/>
          <p:nvPr/>
        </p:nvSpPr>
        <p:spPr>
          <a:xfrm rot="5633111" flipH="1">
            <a:off x="580315" y="517984"/>
            <a:ext cx="994537" cy="1056496"/>
          </a:xfrm>
          <a:custGeom>
            <a:avLst/>
            <a:gdLst>
              <a:gd name="csX0" fmla="*/ 4821122 w 4843674"/>
              <a:gd name="csY0" fmla="*/ 3217468 h 5145436"/>
              <a:gd name="csX1" fmla="*/ 658719 w 4843674"/>
              <a:gd name="csY1" fmla="*/ 12976 h 5145436"/>
              <a:gd name="csX2" fmla="*/ 495062 w 4843674"/>
              <a:gd name="csY2" fmla="*/ 28238 h 5145436"/>
              <a:gd name="csX3" fmla="*/ 18119 w 4843674"/>
              <a:gd name="csY3" fmla="*/ 899386 h 5145436"/>
              <a:gd name="csX4" fmla="*/ 0 w 4843674"/>
              <a:gd name="csY4" fmla="*/ 1010244 h 5145436"/>
              <a:gd name="csX5" fmla="*/ 750289 w 4843674"/>
              <a:gd name="csY5" fmla="*/ 5018407 h 5145436"/>
              <a:gd name="csX6" fmla="*/ 955899 w 4843674"/>
              <a:gd name="csY6" fmla="*/ 5129395 h 5145436"/>
              <a:gd name="csX7" fmla="*/ 2330161 w 4843674"/>
              <a:gd name="csY7" fmla="*/ 4274743 h 5145436"/>
              <a:gd name="csX8" fmla="*/ 4331386 w 4843674"/>
              <a:gd name="csY8" fmla="*/ 4259546 h 5145436"/>
              <a:gd name="csX9" fmla="*/ 4824564 w 4843674"/>
              <a:gd name="csY9" fmla="*/ 3372747 h 5145436"/>
              <a:gd name="csX10" fmla="*/ 4821122 w 4843674"/>
              <a:gd name="csY10" fmla="*/ 3217468 h 5145436"/>
              <a:gd name="csX11" fmla="*/ 892709 w 4843674"/>
              <a:gd name="csY11" fmla="*/ 4907354 h 5145436"/>
              <a:gd name="csX12" fmla="*/ 851275 w 4843674"/>
              <a:gd name="csY12" fmla="*/ 4875208 h 5145436"/>
              <a:gd name="csX13" fmla="*/ 128458 w 4843674"/>
              <a:gd name="csY13" fmla="*/ 1009594 h 5145436"/>
              <a:gd name="csX14" fmla="*/ 500452 w 4843674"/>
              <a:gd name="csY14" fmla="*/ 298986 h 5145436"/>
              <a:gd name="csX15" fmla="*/ 1248792 w 4843674"/>
              <a:gd name="csY15" fmla="*/ 4221425 h 5145436"/>
              <a:gd name="csX16" fmla="*/ 892709 w 4843674"/>
              <a:gd name="csY16" fmla="*/ 4907354 h 5145436"/>
              <a:gd name="csX17" fmla="*/ 2249437 w 4843674"/>
              <a:gd name="csY17" fmla="*/ 4172717 h 5145436"/>
              <a:gd name="csX18" fmla="*/ 1020517 w 4843674"/>
              <a:gd name="csY18" fmla="*/ 4928526 h 5145436"/>
              <a:gd name="csX19" fmla="*/ 1350169 w 4843674"/>
              <a:gd name="csY19" fmla="*/ 4292342 h 5145436"/>
              <a:gd name="csX20" fmla="*/ 2478621 w 4843674"/>
              <a:gd name="csY20" fmla="*/ 3594982 h 5145436"/>
              <a:gd name="csX21" fmla="*/ 2590973 w 4843674"/>
              <a:gd name="csY21" fmla="*/ 3548353 h 5145436"/>
              <a:gd name="csX22" fmla="*/ 2249437 w 4843674"/>
              <a:gd name="csY22" fmla="*/ 4172717 h 5145436"/>
              <a:gd name="csX23" fmla="*/ 4265468 w 4843674"/>
              <a:gd name="csY23" fmla="*/ 4129854 h 5145436"/>
              <a:gd name="csX24" fmla="*/ 4194810 w 4843674"/>
              <a:gd name="csY24" fmla="*/ 4165314 h 5145436"/>
              <a:gd name="csX25" fmla="*/ 2421277 w 4843674"/>
              <a:gd name="csY25" fmla="*/ 4142648 h 5145436"/>
              <a:gd name="csX26" fmla="*/ 2803337 w 4843674"/>
              <a:gd name="csY26" fmla="*/ 3399568 h 5145436"/>
              <a:gd name="csX27" fmla="*/ 4649932 w 4843674"/>
              <a:gd name="csY27" fmla="*/ 3399568 h 5145436"/>
              <a:gd name="csX28" fmla="*/ 4265468 w 4843674"/>
              <a:gd name="csY28" fmla="*/ 4129854 h 5145436"/>
              <a:gd name="csX29" fmla="*/ 2775931 w 4843674"/>
              <a:gd name="csY29" fmla="*/ 3276566 h 5145436"/>
              <a:gd name="csX30" fmla="*/ 1371080 w 4843674"/>
              <a:gd name="csY30" fmla="*/ 4142908 h 5145436"/>
              <a:gd name="csX31" fmla="*/ 617220 w 4843674"/>
              <a:gd name="csY31" fmla="*/ 171567 h 5145436"/>
              <a:gd name="csX32" fmla="*/ 4692340 w 4843674"/>
              <a:gd name="csY32" fmla="*/ 3293126 h 5145436"/>
              <a:gd name="csX33" fmla="*/ 2775931 w 4843674"/>
              <a:gd name="csY33" fmla="*/ 3276566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4843674" h="5145436">
                <a:moveTo>
                  <a:pt x="4821122" y="3217468"/>
                </a:moveTo>
                <a:lnTo>
                  <a:pt x="658719" y="12976"/>
                </a:lnTo>
                <a:cubicBezTo>
                  <a:pt x="617999" y="-8845"/>
                  <a:pt x="527144" y="-2740"/>
                  <a:pt x="495062" y="28238"/>
                </a:cubicBezTo>
                <a:lnTo>
                  <a:pt x="18119" y="899386"/>
                </a:lnTo>
                <a:lnTo>
                  <a:pt x="0" y="1010244"/>
                </a:lnTo>
                <a:lnTo>
                  <a:pt x="750289" y="5018407"/>
                </a:lnTo>
                <a:cubicBezTo>
                  <a:pt x="767304" y="5138552"/>
                  <a:pt x="844586" y="5168231"/>
                  <a:pt x="955899" y="5129395"/>
                </a:cubicBezTo>
                <a:lnTo>
                  <a:pt x="2330161" y="4274743"/>
                </a:lnTo>
                <a:lnTo>
                  <a:pt x="4331386" y="4259546"/>
                </a:lnTo>
                <a:lnTo>
                  <a:pt x="4824564" y="3372747"/>
                </a:lnTo>
                <a:cubicBezTo>
                  <a:pt x="4845865" y="3323910"/>
                  <a:pt x="4855217" y="3262928"/>
                  <a:pt x="4821122" y="3217468"/>
                </a:cubicBezTo>
                <a:close/>
                <a:moveTo>
                  <a:pt x="892709" y="4907354"/>
                </a:moveTo>
                <a:cubicBezTo>
                  <a:pt x="857315" y="4941839"/>
                  <a:pt x="856211" y="4902159"/>
                  <a:pt x="851275" y="4875208"/>
                </a:cubicBezTo>
                <a:cubicBezTo>
                  <a:pt x="616051" y="3585436"/>
                  <a:pt x="371995" y="2297742"/>
                  <a:pt x="128458" y="1009594"/>
                </a:cubicBezTo>
                <a:cubicBezTo>
                  <a:pt x="219833" y="758719"/>
                  <a:pt x="371150" y="531288"/>
                  <a:pt x="500452" y="298986"/>
                </a:cubicBezTo>
                <a:lnTo>
                  <a:pt x="1248792" y="4221425"/>
                </a:lnTo>
                <a:lnTo>
                  <a:pt x="892709" y="4907354"/>
                </a:lnTo>
                <a:close/>
                <a:moveTo>
                  <a:pt x="2249437" y="4172717"/>
                </a:moveTo>
                <a:lnTo>
                  <a:pt x="1020517" y="4928526"/>
                </a:lnTo>
                <a:lnTo>
                  <a:pt x="1350169" y="4292342"/>
                </a:lnTo>
                <a:cubicBezTo>
                  <a:pt x="1736451" y="4083485"/>
                  <a:pt x="2097470" y="3809230"/>
                  <a:pt x="2478621" y="3594982"/>
                </a:cubicBezTo>
                <a:cubicBezTo>
                  <a:pt x="2499013" y="3583552"/>
                  <a:pt x="2576166" y="3534001"/>
                  <a:pt x="2590973" y="3548353"/>
                </a:cubicBezTo>
                <a:lnTo>
                  <a:pt x="2249437" y="4172717"/>
                </a:lnTo>
                <a:close/>
                <a:moveTo>
                  <a:pt x="4265468" y="4129854"/>
                </a:moveTo>
                <a:lnTo>
                  <a:pt x="4194810" y="4165314"/>
                </a:lnTo>
                <a:lnTo>
                  <a:pt x="2421277" y="4142648"/>
                </a:lnTo>
                <a:lnTo>
                  <a:pt x="2803337" y="3399568"/>
                </a:lnTo>
                <a:lnTo>
                  <a:pt x="4649932" y="3399568"/>
                </a:lnTo>
                <a:lnTo>
                  <a:pt x="4265468" y="4129854"/>
                </a:lnTo>
                <a:close/>
                <a:moveTo>
                  <a:pt x="2775931" y="3276566"/>
                </a:moveTo>
                <a:lnTo>
                  <a:pt x="1371080" y="4142908"/>
                </a:lnTo>
                <a:lnTo>
                  <a:pt x="617220" y="171567"/>
                </a:lnTo>
                <a:lnTo>
                  <a:pt x="4692340" y="3293126"/>
                </a:lnTo>
                <a:lnTo>
                  <a:pt x="2775931" y="3276566"/>
                </a:ln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3FB6E2-103E-FE2B-997A-FBD7F5DB3A30}"/>
              </a:ext>
            </a:extLst>
          </p:cNvPr>
          <p:cNvCxnSpPr>
            <a:cxnSpLocks/>
          </p:cNvCxnSpPr>
          <p:nvPr/>
        </p:nvCxnSpPr>
        <p:spPr>
          <a:xfrm rot="1138399">
            <a:off x="3345189" y="2474711"/>
            <a:ext cx="1289" cy="15401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8473B77-5278-7473-5D75-CB08560E4FAA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649516D-495A-B230-AC75-98F43D683EC2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D8AA085-774E-C3D7-1616-E746CA6D0E6D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7" name="Graphic 2">
              <a:extLst>
                <a:ext uri="{FF2B5EF4-FFF2-40B4-BE49-F238E27FC236}">
                  <a16:creationId xmlns:a16="http://schemas.microsoft.com/office/drawing/2014/main" id="{72069D1A-0DE7-1A9C-797D-CABC7A7B286F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ECD89EF6-A623-7FA7-72EA-C4EF9DE40CD9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B89E6D3F-8B7A-CC65-CF37-65CC83988EE8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2">
              <a:extLst>
                <a:ext uri="{FF2B5EF4-FFF2-40B4-BE49-F238E27FC236}">
                  <a16:creationId xmlns:a16="http://schemas.microsoft.com/office/drawing/2014/main" id="{C8A214E2-9DEC-7DB4-7FD2-515E5382BB40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3F383A09-31F8-8762-1739-717ED8061DF6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260D9BDA-2D0D-055D-817D-466BB1F6A526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AD33643-0165-8A0C-5069-6A4332789218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BBF7C068-A869-F545-73FE-0FD2948B4D30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aphic 2">
              <a:extLst>
                <a:ext uri="{FF2B5EF4-FFF2-40B4-BE49-F238E27FC236}">
                  <a16:creationId xmlns:a16="http://schemas.microsoft.com/office/drawing/2014/main" id="{28718AAC-E7BF-9487-5CE7-DAF6D5233ED2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E4E39AF2-57AB-D6BD-E513-17987021D138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8A17117E-66DA-EE4B-3B7D-4A963F681A5E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B220A3E8-6C70-B3B6-9AE4-A4BCE894F9AC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37A94307-63D3-9412-2A07-E9ADE32D5945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94005C5-086E-E441-222A-6CB4E1DF7525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7B366F-E929-60EE-CDEC-4CA079E92D8B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FEF19B5-1CB1-3180-1598-99EDF2E6C5A4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6C35B0-F125-27F3-3DBE-898F7296B723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FAC2034-4877-76CB-A5EA-A0042CF2646A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7" name="Graphic 2">
              <a:extLst>
                <a:ext uri="{FF2B5EF4-FFF2-40B4-BE49-F238E27FC236}">
                  <a16:creationId xmlns:a16="http://schemas.microsoft.com/office/drawing/2014/main" id="{CF4A672C-46EC-2F32-D99B-91E3F8C1AE5C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87C269FE-874C-F799-4CC6-B614C9751189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41763212-5707-2263-D998-CCB14B32E3E0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CDF9F3-6933-5746-BEEF-46800AD22F4D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3A8830F-F7E4-3A25-27F7-B617CA516DB5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20" name="Graphic 2">
              <a:extLst>
                <a:ext uri="{FF2B5EF4-FFF2-40B4-BE49-F238E27FC236}">
                  <a16:creationId xmlns:a16="http://schemas.microsoft.com/office/drawing/2014/main" id="{FE88D8F4-563B-D062-46EE-1F7A78564F27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340366D3-66C4-ADD0-FE96-3F000F4A4FD9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381C8538-FD3C-93F7-AB21-090A8E66ED34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1304AC7C-9E1B-AA97-F154-2DD8484C2CE6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59AE5F5-FC09-F1C2-BBD5-94C083F1F7B6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75FC7DC-09EE-A258-2B14-EE72E7869F8F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1F7F52C-D315-A80F-417F-CC1E267D935D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F9A10BFB-1214-C1F8-610F-49E0A2512A80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ABB18822-D793-4E92-52DA-C26AFB660460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9C975EC1-F3C7-0D57-FDB5-5F62A58D773B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6C3F29A3-7FF7-8896-E8A5-894058E15FBD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CEF6080-B032-1339-9DE1-0C2A918EB7AB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C5A60C77-C810-92EB-A98C-59BFE260C80A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8702B453-67DB-1124-BFD4-CD5541D8351B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4FA77B67-9E3D-6301-64E9-04835BCEA811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208" name="Freeform: Shape 207">
                  <a:extLst>
                    <a:ext uri="{FF2B5EF4-FFF2-40B4-BE49-F238E27FC236}">
                      <a16:creationId xmlns:a16="http://schemas.microsoft.com/office/drawing/2014/main" id="{C7A0505F-5031-B5E1-298C-06E1EBCDD8A2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: Shape 208">
                  <a:extLst>
                    <a:ext uri="{FF2B5EF4-FFF2-40B4-BE49-F238E27FC236}">
                      <a16:creationId xmlns:a16="http://schemas.microsoft.com/office/drawing/2014/main" id="{1999A873-A076-83E9-0241-7F2F485ED472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22640C4-4563-F742-6FE0-8A14BC4D5283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5" name="Graphic 2">
                <a:extLst>
                  <a:ext uri="{FF2B5EF4-FFF2-40B4-BE49-F238E27FC236}">
                    <a16:creationId xmlns:a16="http://schemas.microsoft.com/office/drawing/2014/main" id="{A96991B3-32F3-468E-AD57-458E6ECF98F3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194" name="Freeform: Shape 193">
                  <a:extLst>
                    <a:ext uri="{FF2B5EF4-FFF2-40B4-BE49-F238E27FC236}">
                      <a16:creationId xmlns:a16="http://schemas.microsoft.com/office/drawing/2014/main" id="{84182C46-6E63-E32E-8C33-0CF2B59F516B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95" name="Graphic 2">
                  <a:extLst>
                    <a:ext uri="{FF2B5EF4-FFF2-40B4-BE49-F238E27FC236}">
                      <a16:creationId xmlns:a16="http://schemas.microsoft.com/office/drawing/2014/main" id="{DF1673E8-6F8C-5B46-D0B8-9CA3A5C2D221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206" name="Freeform: Shape 205">
                    <a:extLst>
                      <a:ext uri="{FF2B5EF4-FFF2-40B4-BE49-F238E27FC236}">
                        <a16:creationId xmlns:a16="http://schemas.microsoft.com/office/drawing/2014/main" id="{3BC8E246-6F7F-8978-4BBB-EC1126B075DE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: Shape 206">
                    <a:extLst>
                      <a:ext uri="{FF2B5EF4-FFF2-40B4-BE49-F238E27FC236}">
                        <a16:creationId xmlns:a16="http://schemas.microsoft.com/office/drawing/2014/main" id="{6BDACEA2-0F72-A1F7-2679-9CA0F2A2AB38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96" name="Freeform: Shape 195">
                  <a:extLst>
                    <a:ext uri="{FF2B5EF4-FFF2-40B4-BE49-F238E27FC236}">
                      <a16:creationId xmlns:a16="http://schemas.microsoft.com/office/drawing/2014/main" id="{0ACD3CC5-6A49-FC13-693A-9582565A41D2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: Shape 196">
                  <a:extLst>
                    <a:ext uri="{FF2B5EF4-FFF2-40B4-BE49-F238E27FC236}">
                      <a16:creationId xmlns:a16="http://schemas.microsoft.com/office/drawing/2014/main" id="{36684948-CB46-0774-07B3-8CCCF87BD3C5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98" name="Graphic 2">
                  <a:extLst>
                    <a:ext uri="{FF2B5EF4-FFF2-40B4-BE49-F238E27FC236}">
                      <a16:creationId xmlns:a16="http://schemas.microsoft.com/office/drawing/2014/main" id="{9C18C574-A2A3-CBBE-A3DF-C2B7B7616CDB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203" name="Freeform: Shape 202">
                    <a:extLst>
                      <a:ext uri="{FF2B5EF4-FFF2-40B4-BE49-F238E27FC236}">
                        <a16:creationId xmlns:a16="http://schemas.microsoft.com/office/drawing/2014/main" id="{D1AECCEB-BF09-5CDB-2338-5A06188B3479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: Shape 203">
                    <a:extLst>
                      <a:ext uri="{FF2B5EF4-FFF2-40B4-BE49-F238E27FC236}">
                        <a16:creationId xmlns:a16="http://schemas.microsoft.com/office/drawing/2014/main" id="{00050328-BBA3-D1E2-8061-C4D26073C13E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: Shape 204">
                    <a:extLst>
                      <a:ext uri="{FF2B5EF4-FFF2-40B4-BE49-F238E27FC236}">
                        <a16:creationId xmlns:a16="http://schemas.microsoft.com/office/drawing/2014/main" id="{EF3EF882-F9C7-055C-540C-CE4D879338D5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99" name="Freeform: Shape 198">
                  <a:extLst>
                    <a:ext uri="{FF2B5EF4-FFF2-40B4-BE49-F238E27FC236}">
                      <a16:creationId xmlns:a16="http://schemas.microsoft.com/office/drawing/2014/main" id="{6B58C867-AF0B-1320-2E9B-1CD2C7AF6616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: Shape 199">
                  <a:extLst>
                    <a:ext uri="{FF2B5EF4-FFF2-40B4-BE49-F238E27FC236}">
                      <a16:creationId xmlns:a16="http://schemas.microsoft.com/office/drawing/2014/main" id="{B78763D3-ADD9-9115-EB37-11F5F540B55C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: Shape 200">
                  <a:extLst>
                    <a:ext uri="{FF2B5EF4-FFF2-40B4-BE49-F238E27FC236}">
                      <a16:creationId xmlns:a16="http://schemas.microsoft.com/office/drawing/2014/main" id="{C9E2D85E-1B8B-A245-5FF1-77962D9D0057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: Shape 201">
                  <a:extLst>
                    <a:ext uri="{FF2B5EF4-FFF2-40B4-BE49-F238E27FC236}">
                      <a16:creationId xmlns:a16="http://schemas.microsoft.com/office/drawing/2014/main" id="{CF3B0379-9A3B-A956-CAAB-7ACBC428371A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3D58C9F7-0DAD-DD76-D7B6-7383AD7B9684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7" name="Graphic 2">
                <a:extLst>
                  <a:ext uri="{FF2B5EF4-FFF2-40B4-BE49-F238E27FC236}">
                    <a16:creationId xmlns:a16="http://schemas.microsoft.com/office/drawing/2014/main" id="{324B3932-B205-C95E-A763-4EA723F10780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5D173A7D-8DCC-46A1-8D26-C72ECBF576A8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464A28E3-9AA7-15AD-58B3-6AAB5E0AA08F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5AE9C0D2-16F7-9370-6869-CC6CEED5CC91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8830FA8E-1134-2BA7-AFE9-1F9DF9CF2978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22E4A6F1-4AC8-159A-8E14-F667EF3E8BB4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62E56ECA-46B5-1910-0AC6-6E1E4FC6B20F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3A258695-DC3D-8841-C90A-40EC5EBDAEA3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40DE0B47-E49A-351D-7461-5DA5067D6012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D6AD4596-7163-81BF-D353-DEF15F5BC2AB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96F0B953-4D84-946C-565F-842FA96CA1A1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: Shape 191">
                  <a:extLst>
                    <a:ext uri="{FF2B5EF4-FFF2-40B4-BE49-F238E27FC236}">
                      <a16:creationId xmlns:a16="http://schemas.microsoft.com/office/drawing/2014/main" id="{029D2BCB-B17B-EB48-9E9F-3AA74D2DFF1A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: Shape 192">
                  <a:extLst>
                    <a:ext uri="{FF2B5EF4-FFF2-40B4-BE49-F238E27FC236}">
                      <a16:creationId xmlns:a16="http://schemas.microsoft.com/office/drawing/2014/main" id="{A3856EDD-17A7-7C78-4BE6-F3EA21B69AC6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226" name="TextBox 225">
            <a:extLst>
              <a:ext uri="{FF2B5EF4-FFF2-40B4-BE49-F238E27FC236}">
                <a16:creationId xmlns:a16="http://schemas.microsoft.com/office/drawing/2014/main" id="{97074967-E622-87C7-0043-7A0A51C3C245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4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229" name="Graphic 228">
            <a:extLst>
              <a:ext uri="{FF2B5EF4-FFF2-40B4-BE49-F238E27FC236}">
                <a16:creationId xmlns:a16="http://schemas.microsoft.com/office/drawing/2014/main" id="{3889E2DD-A8C4-6D5E-9D92-EE56694A1116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230" name="TextBox 229">
            <a:extLst>
              <a:ext uri="{FF2B5EF4-FFF2-40B4-BE49-F238E27FC236}">
                <a16:creationId xmlns:a16="http://schemas.microsoft.com/office/drawing/2014/main" id="{E0645362-1ADB-F253-AF1E-5E35C6EA633D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5CDA232A-99FD-230A-30E3-D4E8E91380CD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728F7F61-5BA2-04E4-507A-A5AC9A8D605B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5217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09C5A2-AB14-2AEC-267C-904756DE0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CB1EC71-70DE-BA82-0734-9FF2BD09BBBF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BFCC3DE-DF25-4200-EC48-DD0BEF65D93A}"/>
              </a:ext>
            </a:extLst>
          </p:cNvPr>
          <p:cNvSpPr/>
          <p:nvPr/>
        </p:nvSpPr>
        <p:spPr>
          <a:xfrm>
            <a:off x="0" y="0"/>
            <a:ext cx="3994499" cy="2954241"/>
          </a:xfrm>
          <a:custGeom>
            <a:avLst/>
            <a:gdLst>
              <a:gd name="csX0" fmla="*/ 1295515 w 3994499"/>
              <a:gd name="csY0" fmla="*/ 1380130 h 2954241"/>
              <a:gd name="csX1" fmla="*/ 790120 w 3994499"/>
              <a:gd name="csY1" fmla="*/ 2363087 h 2954241"/>
              <a:gd name="csX2" fmla="*/ 3136172 w 3994499"/>
              <a:gd name="csY2" fmla="*/ 2393069 h 2954241"/>
              <a:gd name="csX3" fmla="*/ 3229640 w 3994499"/>
              <a:gd name="csY3" fmla="*/ 2346163 h 2954241"/>
              <a:gd name="csX4" fmla="*/ 3738213 w 3994499"/>
              <a:gd name="csY4" fmla="*/ 1380130 h 2954241"/>
              <a:gd name="csX5" fmla="*/ 2176400 w 3994499"/>
              <a:gd name="csY5" fmla="*/ 0 h 2954241"/>
              <a:gd name="csX6" fmla="*/ 2484870 w 3994499"/>
              <a:gd name="csY6" fmla="*/ 0 h 2954241"/>
              <a:gd name="csX7" fmla="*/ 3964666 w 3994499"/>
              <a:gd name="csY7" fmla="*/ 1139245 h 2954241"/>
              <a:gd name="csX8" fmla="*/ 3969219 w 3994499"/>
              <a:gd name="csY8" fmla="*/ 1344651 h 2954241"/>
              <a:gd name="csX9" fmla="*/ 3316836 w 3994499"/>
              <a:gd name="csY9" fmla="*/ 2517721 h 2954241"/>
              <a:gd name="csX10" fmla="*/ 669591 w 3994499"/>
              <a:gd name="csY10" fmla="*/ 2537823 h 2954241"/>
              <a:gd name="csX11" fmla="*/ 0 w 3994499"/>
              <a:gd name="csY11" fmla="*/ 2954241 h 2954241"/>
              <a:gd name="csX12" fmla="*/ 0 w 3994499"/>
              <a:gd name="csY12" fmla="*/ 2749000 h 2954241"/>
              <a:gd name="csX13" fmla="*/ 562808 w 3994499"/>
              <a:gd name="csY13" fmla="*/ 2402862 h 2954241"/>
              <a:gd name="csX14" fmla="*/ 1014596 w 3994499"/>
              <a:gd name="csY14" fmla="*/ 1576945 h 2954241"/>
              <a:gd name="csX15" fmla="*/ 865976 w 3994499"/>
              <a:gd name="csY15" fmla="*/ 1638627 h 2954241"/>
              <a:gd name="csX16" fmla="*/ 122155 w 3994499"/>
              <a:gd name="csY16" fmla="*/ 2102539 h 2954241"/>
              <a:gd name="csX17" fmla="*/ 0 w 3994499"/>
              <a:gd name="csY17" fmla="*/ 2180812 h 2954241"/>
              <a:gd name="csX18" fmla="*/ 0 w 3994499"/>
              <a:gd name="csY18" fmla="*/ 1993982 h 2954241"/>
              <a:gd name="csX19" fmla="*/ 1259261 w 3994499"/>
              <a:gd name="csY19" fmla="*/ 1217421 h 2954241"/>
              <a:gd name="csX20" fmla="*/ 3794311 w 3994499"/>
              <a:gd name="csY20" fmla="*/ 1239328 h 295424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3994499" h="2954241">
                <a:moveTo>
                  <a:pt x="1295515" y="1380130"/>
                </a:moveTo>
                <a:lnTo>
                  <a:pt x="790120" y="2363087"/>
                </a:lnTo>
                <a:lnTo>
                  <a:pt x="3136172" y="2393069"/>
                </a:lnTo>
                <a:lnTo>
                  <a:pt x="3229640" y="2346163"/>
                </a:lnTo>
                <a:lnTo>
                  <a:pt x="3738213" y="1380130"/>
                </a:lnTo>
                <a:close/>
                <a:moveTo>
                  <a:pt x="2176400" y="0"/>
                </a:moveTo>
                <a:lnTo>
                  <a:pt x="2484870" y="0"/>
                </a:lnTo>
                <a:lnTo>
                  <a:pt x="3964666" y="1139245"/>
                </a:lnTo>
                <a:cubicBezTo>
                  <a:pt x="4009767" y="1199381"/>
                  <a:pt x="3997397" y="1280048"/>
                  <a:pt x="3969219" y="1344651"/>
                </a:cubicBezTo>
                <a:lnTo>
                  <a:pt x="3316836" y="2517721"/>
                </a:lnTo>
                <a:lnTo>
                  <a:pt x="669591" y="2537823"/>
                </a:lnTo>
                <a:lnTo>
                  <a:pt x="0" y="2954241"/>
                </a:lnTo>
                <a:lnTo>
                  <a:pt x="0" y="2749000"/>
                </a:lnTo>
                <a:lnTo>
                  <a:pt x="562808" y="2402862"/>
                </a:lnTo>
                <a:lnTo>
                  <a:pt x="1014596" y="1576945"/>
                </a:lnTo>
                <a:cubicBezTo>
                  <a:pt x="995009" y="1557959"/>
                  <a:pt x="892951" y="1623507"/>
                  <a:pt x="865976" y="1638627"/>
                </a:cubicBezTo>
                <a:cubicBezTo>
                  <a:pt x="613880" y="1780332"/>
                  <a:pt x="368442" y="1941881"/>
                  <a:pt x="122155" y="2102539"/>
                </a:cubicBezTo>
                <a:lnTo>
                  <a:pt x="0" y="2180812"/>
                </a:lnTo>
                <a:lnTo>
                  <a:pt x="0" y="1993982"/>
                </a:lnTo>
                <a:lnTo>
                  <a:pt x="1259261" y="1217421"/>
                </a:lnTo>
                <a:lnTo>
                  <a:pt x="3794311" y="1239328"/>
                </a:ln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000C78-EA43-E669-AA5F-C338FCD97A75}"/>
              </a:ext>
            </a:extLst>
          </p:cNvPr>
          <p:cNvSpPr txBox="1">
            <a:spLocks/>
          </p:cNvSpPr>
          <p:nvPr/>
        </p:nvSpPr>
        <p:spPr>
          <a:xfrm>
            <a:off x="539552" y="267494"/>
            <a:ext cx="3024336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KEY NUMBERS SLID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36D653F-0DF8-F0C8-3979-003CF929715F}"/>
              </a:ext>
            </a:extLst>
          </p:cNvPr>
          <p:cNvSpPr txBox="1">
            <a:spLocks/>
          </p:cNvSpPr>
          <p:nvPr/>
        </p:nvSpPr>
        <p:spPr>
          <a:xfrm>
            <a:off x="3605159" y="3317100"/>
            <a:ext cx="1933683" cy="1886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6D3789D-D10D-0C16-2D97-359E47B3259C}"/>
              </a:ext>
            </a:extLst>
          </p:cNvPr>
          <p:cNvSpPr txBox="1">
            <a:spLocks/>
          </p:cNvSpPr>
          <p:nvPr/>
        </p:nvSpPr>
        <p:spPr>
          <a:xfrm>
            <a:off x="3626177" y="1707654"/>
            <a:ext cx="1891646" cy="1477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60</a:t>
            </a:r>
          </a:p>
        </p:txBody>
      </p:sp>
      <p:sp useBgFill="1">
        <p:nvSpPr>
          <p:cNvPr id="58" name="Parallelogram 57">
            <a:extLst>
              <a:ext uri="{FF2B5EF4-FFF2-40B4-BE49-F238E27FC236}">
                <a16:creationId xmlns:a16="http://schemas.microsoft.com/office/drawing/2014/main" id="{84BAE22E-DC38-8A93-BB6B-85780EFFB74B}"/>
              </a:ext>
            </a:extLst>
          </p:cNvPr>
          <p:cNvSpPr/>
          <p:nvPr/>
        </p:nvSpPr>
        <p:spPr>
          <a:xfrm>
            <a:off x="4052614" y="2644246"/>
            <a:ext cx="1444189" cy="49265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75E52C7-4232-4FC2-5FDF-3FA4FB974DF0}"/>
              </a:ext>
            </a:extLst>
          </p:cNvPr>
          <p:cNvSpPr txBox="1">
            <a:spLocks/>
          </p:cNvSpPr>
          <p:nvPr/>
        </p:nvSpPr>
        <p:spPr>
          <a:xfrm>
            <a:off x="4168447" y="2706302"/>
            <a:ext cx="12805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Lorem ipsum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65D95D9-4B7A-422A-E0F0-54278BC32BC8}"/>
              </a:ext>
            </a:extLst>
          </p:cNvPr>
          <p:cNvCxnSpPr>
            <a:cxnSpLocks/>
          </p:cNvCxnSpPr>
          <p:nvPr/>
        </p:nvCxnSpPr>
        <p:spPr>
          <a:xfrm>
            <a:off x="3605159" y="3139277"/>
            <a:ext cx="193368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2B87FDE-2771-FD3B-1635-151FD01B105F}"/>
              </a:ext>
            </a:extLst>
          </p:cNvPr>
          <p:cNvSpPr txBox="1">
            <a:spLocks/>
          </p:cNvSpPr>
          <p:nvPr/>
        </p:nvSpPr>
        <p:spPr>
          <a:xfrm>
            <a:off x="1182455" y="3317100"/>
            <a:ext cx="1933683" cy="1886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EF0BFCF-40D3-C5B7-AFBA-F67E7855ACC2}"/>
              </a:ext>
            </a:extLst>
          </p:cNvPr>
          <p:cNvSpPr txBox="1">
            <a:spLocks/>
          </p:cNvSpPr>
          <p:nvPr/>
        </p:nvSpPr>
        <p:spPr>
          <a:xfrm>
            <a:off x="1203473" y="1707654"/>
            <a:ext cx="1891646" cy="1477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50</a:t>
            </a:r>
          </a:p>
        </p:txBody>
      </p:sp>
      <p:sp useBgFill="1">
        <p:nvSpPr>
          <p:cNvPr id="54" name="Parallelogram 53">
            <a:extLst>
              <a:ext uri="{FF2B5EF4-FFF2-40B4-BE49-F238E27FC236}">
                <a16:creationId xmlns:a16="http://schemas.microsoft.com/office/drawing/2014/main" id="{B4A3C070-7136-5956-0685-B68337F70987}"/>
              </a:ext>
            </a:extLst>
          </p:cNvPr>
          <p:cNvSpPr/>
          <p:nvPr/>
        </p:nvSpPr>
        <p:spPr>
          <a:xfrm>
            <a:off x="1635627" y="2644246"/>
            <a:ext cx="1375419" cy="49265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2E8E20E-C90C-1407-7DA3-61BEC03032EE}"/>
              </a:ext>
            </a:extLst>
          </p:cNvPr>
          <p:cNvSpPr txBox="1">
            <a:spLocks/>
          </p:cNvSpPr>
          <p:nvPr/>
        </p:nvSpPr>
        <p:spPr>
          <a:xfrm>
            <a:off x="1729061" y="2706302"/>
            <a:ext cx="12131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Lorem ipsum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97895D0-99F5-05F6-A1EB-8E03A5BAE6DC}"/>
              </a:ext>
            </a:extLst>
          </p:cNvPr>
          <p:cNvCxnSpPr>
            <a:cxnSpLocks/>
          </p:cNvCxnSpPr>
          <p:nvPr/>
        </p:nvCxnSpPr>
        <p:spPr>
          <a:xfrm>
            <a:off x="1182455" y="3139277"/>
            <a:ext cx="1933684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D5DB406A-E010-885E-701A-427362FD0392}"/>
              </a:ext>
            </a:extLst>
          </p:cNvPr>
          <p:cNvSpPr txBox="1">
            <a:spLocks/>
          </p:cNvSpPr>
          <p:nvPr/>
        </p:nvSpPr>
        <p:spPr>
          <a:xfrm>
            <a:off x="6027862" y="3317100"/>
            <a:ext cx="1933683" cy="1886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B9F33C9-AE8E-595E-B86E-D9B1C28C16A9}"/>
              </a:ext>
            </a:extLst>
          </p:cNvPr>
          <p:cNvSpPr txBox="1">
            <a:spLocks/>
          </p:cNvSpPr>
          <p:nvPr/>
        </p:nvSpPr>
        <p:spPr>
          <a:xfrm>
            <a:off x="6048881" y="1707654"/>
            <a:ext cx="1891646" cy="1477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70</a:t>
            </a:r>
          </a:p>
        </p:txBody>
      </p:sp>
      <p:sp useBgFill="1">
        <p:nvSpPr>
          <p:cNvPr id="62" name="Parallelogram 61">
            <a:extLst>
              <a:ext uri="{FF2B5EF4-FFF2-40B4-BE49-F238E27FC236}">
                <a16:creationId xmlns:a16="http://schemas.microsoft.com/office/drawing/2014/main" id="{62AC552A-84D0-2377-A123-DDA44CD3BFB5}"/>
              </a:ext>
            </a:extLst>
          </p:cNvPr>
          <p:cNvSpPr/>
          <p:nvPr/>
        </p:nvSpPr>
        <p:spPr>
          <a:xfrm>
            <a:off x="6337776" y="2644246"/>
            <a:ext cx="1581732" cy="49265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DB876B3-F40E-3ECB-0FC7-B97FB7FFD329}"/>
              </a:ext>
            </a:extLst>
          </p:cNvPr>
          <p:cNvSpPr txBox="1">
            <a:spLocks/>
          </p:cNvSpPr>
          <p:nvPr/>
        </p:nvSpPr>
        <p:spPr>
          <a:xfrm>
            <a:off x="6481792" y="2706302"/>
            <a:ext cx="122176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Lorem ipsum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10323D4-ADA1-7228-2BCF-B6E21A9D73AB}"/>
              </a:ext>
            </a:extLst>
          </p:cNvPr>
          <p:cNvCxnSpPr>
            <a:cxnSpLocks/>
          </p:cNvCxnSpPr>
          <p:nvPr/>
        </p:nvCxnSpPr>
        <p:spPr>
          <a:xfrm>
            <a:off x="6027862" y="3139277"/>
            <a:ext cx="1933684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4B05EB-6FAA-A094-46ED-79580495F8D1}"/>
              </a:ext>
            </a:extLst>
          </p:cNvPr>
          <p:cNvSpPr txBox="1">
            <a:spLocks/>
          </p:cNvSpPr>
          <p:nvPr/>
        </p:nvSpPr>
        <p:spPr>
          <a:xfrm>
            <a:off x="1440439" y="685222"/>
            <a:ext cx="626312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CHIFFRES </a:t>
            </a:r>
            <a:r>
              <a:rPr kumimoji="0" lang="fr-FR" sz="4400" b="0" i="1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CLÉ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70D88E-593B-9EDA-61B0-A58F1C7C1C41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3ECAD81-9045-041B-BFEA-C274A0B9465C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C1635C-9D2D-66DA-7358-E053397A388A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A0BAF460-84B7-A00C-D249-7856FDC026AF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1586165B-E574-5386-7D01-85B67FEF105E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ABE1E13B-5E95-4A10-64AD-C7F165A7EFE3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2">
              <a:extLst>
                <a:ext uri="{FF2B5EF4-FFF2-40B4-BE49-F238E27FC236}">
                  <a16:creationId xmlns:a16="http://schemas.microsoft.com/office/drawing/2014/main" id="{7A30E687-8CD1-B6A6-32BB-F0A9242359E6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EAA6DA87-28A1-72A9-DA1B-ECCD38B12243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2179AEFA-4920-5879-0933-89744767E3BF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114E80A5-8175-3D73-4185-44FC96726DA5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793CFABB-8B43-7734-765E-59F7A4D640FB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6" name="Graphic 2">
              <a:extLst>
                <a:ext uri="{FF2B5EF4-FFF2-40B4-BE49-F238E27FC236}">
                  <a16:creationId xmlns:a16="http://schemas.microsoft.com/office/drawing/2014/main" id="{D83C2FC9-19C4-C503-F9EE-64BA356ABF7A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D159CC43-79D2-BE56-02EE-B013985E123E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FBC01A2F-05D6-4950-5D28-E8E36CFC6B35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D2E97AE8-0A6E-06B8-6C74-77CC3402DC1A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F24CD75E-B4D1-0EE5-8128-E3DC38B4B076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4CD210D-D451-0744-136E-1D459221FCD9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67AFE10-216B-6E73-7DDE-39B464BEC852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AA16966-0061-7378-3369-83B212365998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76AF1A9-44B8-D688-7A89-35C21B08EF2F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7CC60B1-6A14-FC96-E50C-05B9347DB87F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2" name="Graphic 2">
              <a:extLst>
                <a:ext uri="{FF2B5EF4-FFF2-40B4-BE49-F238E27FC236}">
                  <a16:creationId xmlns:a16="http://schemas.microsoft.com/office/drawing/2014/main" id="{5A363908-5A4A-7B23-3FE8-E8B6FBC9CE06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6D03D90E-107B-0293-4CC4-E03417260620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CBE5F2B9-E33F-4CF3-8DB1-9877A778EF52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11F42F1-278F-F133-43EA-7FFA6D1A8F52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00DBDE7-9D13-E110-CA1B-BE6D520FCE42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5" name="Graphic 2">
              <a:extLst>
                <a:ext uri="{FF2B5EF4-FFF2-40B4-BE49-F238E27FC236}">
                  <a16:creationId xmlns:a16="http://schemas.microsoft.com/office/drawing/2014/main" id="{C587000E-ECF5-469A-D894-CD85AF8D01F1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A71D91E0-472F-BEEA-C94B-0A57F73B7877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54DCD425-BCD9-F962-6A45-93EFBDFBCF6F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CBDCA5B4-8646-0B15-0CFB-16095B99413F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1A82C65-B590-CD11-6090-8386F83192D5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8CC9A8F1-D4D1-BD20-5E27-1712213AC3D4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E8D9CC78-09A6-3CB6-9DD9-B942E295906E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D7534C74-DE47-8153-4A55-83B11AA10864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404C3F59-B4C9-0F55-42B8-452EE4A4BE2C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459B767F-89EF-B62B-404C-40329F2D983F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604744FE-D86D-1996-D301-9569BADC1433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D6DF8C22-A293-2CB9-D96B-E1B4967135ED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A49D7A54-34B2-E56B-ED61-EB025431DFB0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DCCDBF6-60E0-9826-995B-A78473E547B2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6" name="Graphic 2">
                <a:extLst>
                  <a:ext uri="{FF2B5EF4-FFF2-40B4-BE49-F238E27FC236}">
                    <a16:creationId xmlns:a16="http://schemas.microsoft.com/office/drawing/2014/main" id="{0873A4FD-2FBB-B596-F832-41053108E00D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3A9F67F-6958-7FED-1162-4510BFD8D433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D8709D31-62B1-631E-77A1-77AE34365862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5D5E34CB-88CC-87AE-7457-E6D3ABBA4E1F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8" name="Graphic 2">
                <a:extLst>
                  <a:ext uri="{FF2B5EF4-FFF2-40B4-BE49-F238E27FC236}">
                    <a16:creationId xmlns:a16="http://schemas.microsoft.com/office/drawing/2014/main" id="{342CD2FB-B097-F5A2-B913-B9F86C4B893A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C46E9D13-2618-AE5E-D7C3-36B44090BFD9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4" name="Graphic 2">
                  <a:extLst>
                    <a:ext uri="{FF2B5EF4-FFF2-40B4-BE49-F238E27FC236}">
                      <a16:creationId xmlns:a16="http://schemas.microsoft.com/office/drawing/2014/main" id="{4EF9FCD8-66A2-B63F-F483-5F1C54962D42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3F8E5EB5-A47E-BED7-F103-95F943DFC89E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B60ADFCA-C635-E20A-7594-1CE0463EE672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15CB8B20-63D5-0525-14C0-9C40738EAC8C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398D858B-0BE1-329C-3F46-5826A9D76051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7" name="Graphic 2">
                  <a:extLst>
                    <a:ext uri="{FF2B5EF4-FFF2-40B4-BE49-F238E27FC236}">
                      <a16:creationId xmlns:a16="http://schemas.microsoft.com/office/drawing/2014/main" id="{873E6681-3DF0-404B-2814-CAB035CBFC4B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15BA978A-EAA1-6D42-FBF7-C4B073221693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B151A009-07FF-2574-BB98-DA2B4B4D155B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C323BF44-B2D6-EC06-8EBD-1EF9D61ABE65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60C637C-9279-1186-3F45-AB55752F1228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C4188D57-F688-3036-756C-45314C5D63A2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7A16230B-0BD5-B715-4FB6-B281F6734C14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0F25A27F-C898-8778-A37B-16C8D426368C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C7DA83B-4C53-7E04-25FD-C7F4432E4A11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30" name="Graphic 2">
                <a:extLst>
                  <a:ext uri="{FF2B5EF4-FFF2-40B4-BE49-F238E27FC236}">
                    <a16:creationId xmlns:a16="http://schemas.microsoft.com/office/drawing/2014/main" id="{189F3B55-97B3-5200-5216-C8533F594157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8D79A7F2-0FC7-CC51-E2B0-A2A23F2F912C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4F0776C9-EEC2-A0BA-EC90-DF88ACC1DBDF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2689FEC5-B002-6348-60DB-929E618ADA34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F0F3B32-01A1-E879-773A-8D593F052B72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C4CAFB05-FBD3-3C2F-E59C-B0CC8A80C6E1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A2150B62-A09A-43AE-CB0F-50B5A87F1EF5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5A271EC1-5A50-CFD0-E1EB-2CAA4A22D7D4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F4F4D8DD-9917-76A1-F55E-5617DE0F7933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C57EC012-BF1F-F407-8C52-915A795CDE87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A93694C9-9987-CF17-7FBC-04DA9BA7B1FF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8E38064A-9720-A727-E601-DEAEE5989CDA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54D1075D-2D60-5528-B18A-E7CEC86BB6C3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C68BCC3A-DC79-1675-B4D5-8A9978212C60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5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5" name="Graphic 174">
            <a:extLst>
              <a:ext uri="{FF2B5EF4-FFF2-40B4-BE49-F238E27FC236}">
                <a16:creationId xmlns:a16="http://schemas.microsoft.com/office/drawing/2014/main" id="{E53366B3-0CF7-3F55-BFEE-A9BF95EE025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A277DF74-B903-D859-2056-B7F8EA50EB9E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8D72EEEC-7673-F598-20BB-98D353679E53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5A7D34B6-1F2E-F64C-C5F2-AB3880283A5F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3969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E48258-AEFD-BA34-7AD6-493439029607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u="none" strike="noStrike" kern="1200" cap="none" spc="0" normalizeH="0" baseline="0" noProof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Titre de la sli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C12218-0C81-E9DE-0134-523A78C4071C}"/>
              </a:ext>
            </a:extLst>
          </p:cNvPr>
          <p:cNvSpPr txBox="1">
            <a:spLocks/>
          </p:cNvSpPr>
          <p:nvPr/>
        </p:nvSpPr>
        <p:spPr>
          <a:xfrm>
            <a:off x="539553" y="1668455"/>
            <a:ext cx="3744417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16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79965D-4CD3-2501-6389-5DCF43C20B90}"/>
              </a:ext>
            </a:extLst>
          </p:cNvPr>
          <p:cNvSpPr txBox="1">
            <a:spLocks/>
          </p:cNvSpPr>
          <p:nvPr/>
        </p:nvSpPr>
        <p:spPr>
          <a:xfrm>
            <a:off x="539551" y="1995686"/>
            <a:ext cx="3744417" cy="18466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Quo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b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ib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. Na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j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t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r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muci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, in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et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corrumpit nec, ad brut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oce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erm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h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cun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vis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8440229-C0CE-CADB-4E44-D000888C53F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18" r="12422"/>
          <a:stretch>
            <a:fillRect/>
          </a:stretch>
        </p:blipFill>
        <p:spPr>
          <a:xfrm>
            <a:off x="4716016" y="339502"/>
            <a:ext cx="4032448" cy="4032448"/>
          </a:xfrm>
          <a:prstGeom prst="roundRect">
            <a:avLst>
              <a:gd name="adj" fmla="val 2117"/>
            </a:avLst>
          </a:prstGeom>
        </p:spPr>
      </p:pic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1E7BEC2-07EC-1CBE-9E0B-56D3BC6F27AE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3"/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3DDFE27-A432-062C-566B-A42832612A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67" r="12432" b="88"/>
          <a:stretch>
            <a:fillRect/>
          </a:stretch>
        </p:blipFill>
        <p:spPr>
          <a:xfrm>
            <a:off x="4716016" y="339502"/>
            <a:ext cx="4032448" cy="4032448"/>
          </a:xfrm>
          <a:prstGeom prst="roundRect">
            <a:avLst>
              <a:gd name="adj" fmla="val 2872"/>
            </a:avLst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40C2CF4-66B7-C54C-61BA-6FA579BF9EEB}"/>
              </a:ext>
            </a:extLst>
          </p:cNvPr>
          <p:cNvSpPr/>
          <p:nvPr/>
        </p:nvSpPr>
        <p:spPr>
          <a:xfrm flipH="1">
            <a:off x="4283968" y="3939902"/>
            <a:ext cx="4860032" cy="1203598"/>
          </a:xfrm>
          <a:custGeom>
            <a:avLst/>
            <a:gdLst>
              <a:gd name="csX0" fmla="*/ 18940 w 4860032"/>
              <a:gd name="csY0" fmla="*/ 0 h 1203598"/>
              <a:gd name="csX1" fmla="*/ 0 w 4860032"/>
              <a:gd name="csY1" fmla="*/ 0 h 1203598"/>
              <a:gd name="csX2" fmla="*/ 0 w 4860032"/>
              <a:gd name="csY2" fmla="*/ 859033 h 1203598"/>
              <a:gd name="csX3" fmla="*/ 65738 w 4860032"/>
              <a:gd name="csY3" fmla="*/ 1203598 h 1203598"/>
              <a:gd name="csX4" fmla="*/ 247413 w 4860032"/>
              <a:gd name="csY4" fmla="*/ 1203598 h 1203598"/>
              <a:gd name="csX5" fmla="*/ 4726745 w 4860032"/>
              <a:gd name="csY5" fmla="*/ 0 h 1203598"/>
              <a:gd name="csX6" fmla="*/ 4425212 w 4860032"/>
              <a:gd name="csY6" fmla="*/ 0 h 1203598"/>
              <a:gd name="csX7" fmla="*/ 4659844 w 4860032"/>
              <a:gd name="csY7" fmla="*/ 179729 h 1203598"/>
              <a:gd name="csX8" fmla="*/ 2124794 w 4860032"/>
              <a:gd name="csY8" fmla="*/ 157822 h 1203598"/>
              <a:gd name="csX9" fmla="*/ 428977 w 4860032"/>
              <a:gd name="csY9" fmla="*/ 1203598 h 1203598"/>
              <a:gd name="csX10" fmla="*/ 736960 w 4860032"/>
              <a:gd name="csY10" fmla="*/ 1203598 h 1203598"/>
              <a:gd name="csX11" fmla="*/ 987688 w 4860032"/>
              <a:gd name="csY11" fmla="*/ 1042940 h 1203598"/>
              <a:gd name="csX12" fmla="*/ 1731509 w 4860032"/>
              <a:gd name="csY12" fmla="*/ 579028 h 1203598"/>
              <a:gd name="csX13" fmla="*/ 1880129 w 4860032"/>
              <a:gd name="csY13" fmla="*/ 517346 h 1203598"/>
              <a:gd name="csX14" fmla="*/ 1504740 w 4860032"/>
              <a:gd name="csY14" fmla="*/ 1203598 h 1203598"/>
              <a:gd name="csX15" fmla="*/ 1707013 w 4860032"/>
              <a:gd name="csY15" fmla="*/ 1203598 h 1203598"/>
              <a:gd name="csX16" fmla="*/ 2161048 w 4860032"/>
              <a:gd name="csY16" fmla="*/ 320531 h 1203598"/>
              <a:gd name="csX17" fmla="*/ 4603746 w 4860032"/>
              <a:gd name="csY17" fmla="*/ 320531 h 1203598"/>
              <a:gd name="csX18" fmla="*/ 4138851 w 4860032"/>
              <a:gd name="csY18" fmla="*/ 1203598 h 1203598"/>
              <a:gd name="csX19" fmla="*/ 4323918 w 4860032"/>
              <a:gd name="csY19" fmla="*/ 1203598 h 1203598"/>
              <a:gd name="csX20" fmla="*/ 4834752 w 4860032"/>
              <a:gd name="csY20" fmla="*/ 285052 h 1203598"/>
              <a:gd name="csX21" fmla="*/ 4830199 w 4860032"/>
              <a:gd name="csY21" fmla="*/ 79646 h 120359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4860032" h="1203598">
                <a:moveTo>
                  <a:pt x="18940" y="0"/>
                </a:moveTo>
                <a:lnTo>
                  <a:pt x="0" y="0"/>
                </a:lnTo>
                <a:lnTo>
                  <a:pt x="0" y="859033"/>
                </a:lnTo>
                <a:lnTo>
                  <a:pt x="65738" y="1203598"/>
                </a:lnTo>
                <a:lnTo>
                  <a:pt x="247413" y="1203598"/>
                </a:lnTo>
                <a:close/>
                <a:moveTo>
                  <a:pt x="4726745" y="0"/>
                </a:moveTo>
                <a:lnTo>
                  <a:pt x="4425212" y="0"/>
                </a:lnTo>
                <a:lnTo>
                  <a:pt x="4659844" y="179729"/>
                </a:lnTo>
                <a:lnTo>
                  <a:pt x="2124794" y="157822"/>
                </a:lnTo>
                <a:lnTo>
                  <a:pt x="428977" y="1203598"/>
                </a:lnTo>
                <a:lnTo>
                  <a:pt x="736960" y="1203598"/>
                </a:lnTo>
                <a:lnTo>
                  <a:pt x="987688" y="1042940"/>
                </a:lnTo>
                <a:cubicBezTo>
                  <a:pt x="1233975" y="882282"/>
                  <a:pt x="1479413" y="720733"/>
                  <a:pt x="1731509" y="579028"/>
                </a:cubicBezTo>
                <a:cubicBezTo>
                  <a:pt x="1758484" y="563908"/>
                  <a:pt x="1860542" y="498360"/>
                  <a:pt x="1880129" y="517346"/>
                </a:cubicBezTo>
                <a:lnTo>
                  <a:pt x="1504740" y="1203598"/>
                </a:lnTo>
                <a:lnTo>
                  <a:pt x="1707013" y="1203598"/>
                </a:lnTo>
                <a:lnTo>
                  <a:pt x="2161048" y="320531"/>
                </a:lnTo>
                <a:lnTo>
                  <a:pt x="4603746" y="320531"/>
                </a:lnTo>
                <a:lnTo>
                  <a:pt x="4138851" y="1203598"/>
                </a:lnTo>
                <a:lnTo>
                  <a:pt x="4323918" y="1203598"/>
                </a:lnTo>
                <a:lnTo>
                  <a:pt x="4834752" y="285052"/>
                </a:lnTo>
                <a:cubicBezTo>
                  <a:pt x="4862930" y="220449"/>
                  <a:pt x="4875300" y="139782"/>
                  <a:pt x="4830199" y="79646"/>
                </a:cubicBezTo>
                <a:close/>
              </a:path>
            </a:pathLst>
          </a:custGeom>
          <a:solidFill>
            <a:schemeClr val="accent3"/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9331DA-DE5C-8AAE-BC93-44ACBB8EE5CC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A7F854-760E-815F-F5A1-469446E23333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39D84E7-7658-0567-334F-61197003F27A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F69CF64-15F0-5B93-F76D-BE0B94A8FAF3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7" name="Graphic 2">
                <a:extLst>
                  <a:ext uri="{FF2B5EF4-FFF2-40B4-BE49-F238E27FC236}">
                    <a16:creationId xmlns:a16="http://schemas.microsoft.com/office/drawing/2014/main" id="{68D1F558-043A-D177-CD76-213AAC644EA6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4DE45EC5-88F3-FA04-53F4-F3FAC7A943DE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AA08278C-F478-CF23-AEA9-073E7E175D43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" name="Graphic 2">
                <a:extLst>
                  <a:ext uri="{FF2B5EF4-FFF2-40B4-BE49-F238E27FC236}">
                    <a16:creationId xmlns:a16="http://schemas.microsoft.com/office/drawing/2014/main" id="{A5B07BC3-09F0-E2CD-245C-67BDF93DAD10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E6C7E7BC-8C0E-C817-D761-14BBE80A8C36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01B7FA7-DFF9-A688-062F-C9C0430023CA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B7B2C6DB-3263-A005-1489-DE1C257BB1CC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E2A45BB3-2F7A-7D9B-8E2F-14ECEE41EF42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" name="Graphic 2">
                <a:extLst>
                  <a:ext uri="{FF2B5EF4-FFF2-40B4-BE49-F238E27FC236}">
                    <a16:creationId xmlns:a16="http://schemas.microsoft.com/office/drawing/2014/main" id="{59F35514-C515-CC92-3B63-D39DB44E8B3D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52" name="Freeform: Shape 151">
                  <a:extLst>
                    <a:ext uri="{FF2B5EF4-FFF2-40B4-BE49-F238E27FC236}">
                      <a16:creationId xmlns:a16="http://schemas.microsoft.com/office/drawing/2014/main" id="{34B0D654-E729-D7C3-98D7-4D5F4065A661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07069864-36C9-0EB4-0AF4-121E7E842BA6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7CA8F9BB-AB95-649A-2723-AFBDF1BA1218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06E89A07-76D2-2B73-A541-0FA267E37CB3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3F0FC8F9-6CF6-6666-04D2-D8ADB6B9E60A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037ACAC-9A59-72F5-C415-26A54770BFA6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1CE7496A-BD32-8E96-7EE1-23CFB2BB5052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A3F7F160-7485-D0FE-F102-FDCA3F655D78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8A97498-5170-5E6C-72B0-54C58A98929A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00" name="Graphic 2">
                <a:extLst>
                  <a:ext uri="{FF2B5EF4-FFF2-40B4-BE49-F238E27FC236}">
                    <a16:creationId xmlns:a16="http://schemas.microsoft.com/office/drawing/2014/main" id="{87154B20-0F45-748D-5AC0-95976ECD238E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D48CF967-7411-E6C5-F1D6-574C8D9AC8F0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CD746F8F-9D42-B8B1-74D6-F2C282AD6842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23505D7-7C50-131E-3E48-5AED6E3FD4F7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9D8B8DAD-4842-C683-EC7D-A8F600A753EB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FECFD914-ACEB-1BA2-DA64-FC29D5E85BB9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0262CBD7-DC0B-B9D2-817E-F6D93EC16EA8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DF121E4C-4E69-BEAA-1FA8-14B307B6E549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254CE99F-4606-84C7-3B85-6A7F7915E349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E27D3438-ABC3-5D8D-C664-0978ACF793BD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D199AD2C-AE47-FEBE-F788-0A6D7CC2C7C5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7BBEA337-569E-89EA-4892-7170B2AAF263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D6519D82-E80C-4C39-0F5D-9AB7A69742E4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8EBFE168-4067-FA5E-FA9A-3FAFAAC60677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3DB3023D-8D5B-0F67-71F8-4DCDDCCF22A6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44A755E0-8F55-4C09-6120-9951E6AC8DDA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A0208FD6-16A6-C54C-00CF-F3BAA689619D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3450A9CC-3896-B137-20DC-B25F051F0642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BF5DCC3E-AA04-9374-26F5-7E58925519A5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4" name="Graphic 2">
                  <a:extLst>
                    <a:ext uri="{FF2B5EF4-FFF2-40B4-BE49-F238E27FC236}">
                      <a16:creationId xmlns:a16="http://schemas.microsoft.com/office/drawing/2014/main" id="{1EAF1C3D-0508-F7FF-A3CE-D64350ACE59C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FAB971A7-4898-4C10-F45E-99CDB643A3FA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4F4A3D9D-A148-553E-1DE2-A46288529913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2A4E9FD9-0F30-88DD-2DE6-140381ED29AC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6" name="Graphic 2">
                  <a:extLst>
                    <a:ext uri="{FF2B5EF4-FFF2-40B4-BE49-F238E27FC236}">
                      <a16:creationId xmlns:a16="http://schemas.microsoft.com/office/drawing/2014/main" id="{02293B03-A721-74B9-B8D3-ADF4709F0068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B91786BF-543B-7331-DB38-172A14A7A485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2" name="Graphic 2">
                    <a:extLst>
                      <a:ext uri="{FF2B5EF4-FFF2-40B4-BE49-F238E27FC236}">
                        <a16:creationId xmlns:a16="http://schemas.microsoft.com/office/drawing/2014/main" id="{492607A7-425B-54FC-D61C-455ACF075DCB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43" name="Freeform: Shape 142">
                      <a:extLst>
                        <a:ext uri="{FF2B5EF4-FFF2-40B4-BE49-F238E27FC236}">
                          <a16:creationId xmlns:a16="http://schemas.microsoft.com/office/drawing/2014/main" id="{DD683F9F-5D18-563A-1D89-B64B821669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44" name="Freeform: Shape 143">
                      <a:extLst>
                        <a:ext uri="{FF2B5EF4-FFF2-40B4-BE49-F238E27FC236}">
                          <a16:creationId xmlns:a16="http://schemas.microsoft.com/office/drawing/2014/main" id="{9CB01CD6-BBD5-8EBB-66D1-FD60255D93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EF7AEC90-D1C3-D4EE-B7C8-C7DCCE8E4D92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64E061C8-0709-CD70-69B6-3E2701A2C5C0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5" name="Graphic 2">
                    <a:extLst>
                      <a:ext uri="{FF2B5EF4-FFF2-40B4-BE49-F238E27FC236}">
                        <a16:creationId xmlns:a16="http://schemas.microsoft.com/office/drawing/2014/main" id="{0B1838EF-C714-6B20-8358-1AC3DA1C5DB7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40" name="Freeform: Shape 139">
                      <a:extLst>
                        <a:ext uri="{FF2B5EF4-FFF2-40B4-BE49-F238E27FC236}">
                          <a16:creationId xmlns:a16="http://schemas.microsoft.com/office/drawing/2014/main" id="{65E505BB-987D-4A77-B579-4AB8EF19F9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41" name="Freeform: Shape 140">
                      <a:extLst>
                        <a:ext uri="{FF2B5EF4-FFF2-40B4-BE49-F238E27FC236}">
                          <a16:creationId xmlns:a16="http://schemas.microsoft.com/office/drawing/2014/main" id="{92300EBA-5EA7-B63A-645C-D0F0A70C19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42" name="Freeform: Shape 141">
                      <a:extLst>
                        <a:ext uri="{FF2B5EF4-FFF2-40B4-BE49-F238E27FC236}">
                          <a16:creationId xmlns:a16="http://schemas.microsoft.com/office/drawing/2014/main" id="{65B71A75-7409-F6B1-0F26-EE2FB4FD90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9156EAC5-2620-5917-B340-796660045A67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C5087122-8AAF-15A9-DF2C-B7B0B6A2BEA1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0668B80C-02F2-5F98-EC2F-413C01445563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D1B9E9E3-5416-B48A-EDC0-37A4E06070DC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4C1BB6E9-07CA-E3D0-4319-94380471A09F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8" name="Graphic 2">
                  <a:extLst>
                    <a:ext uri="{FF2B5EF4-FFF2-40B4-BE49-F238E27FC236}">
                      <a16:creationId xmlns:a16="http://schemas.microsoft.com/office/drawing/2014/main" id="{F1B4FF3B-6C15-BDFD-AF16-D60ECA845996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58BE0495-4B05-F0BC-00B3-88938DA27695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455B4385-55FB-6254-75F6-DB528668C437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4D52A5E0-E26E-CFD5-7274-CA91241773EC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: Shape 121">
                    <a:extLst>
                      <a:ext uri="{FF2B5EF4-FFF2-40B4-BE49-F238E27FC236}">
                        <a16:creationId xmlns:a16="http://schemas.microsoft.com/office/drawing/2014/main" id="{33903408-5C23-0723-5E66-E33AA522525D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Freeform: Shape 122">
                    <a:extLst>
                      <a:ext uri="{FF2B5EF4-FFF2-40B4-BE49-F238E27FC236}">
                        <a16:creationId xmlns:a16="http://schemas.microsoft.com/office/drawing/2014/main" id="{B0E1849E-F375-D25C-644B-947037A8141F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C32A91E5-74B2-60BD-CEA7-04CBA993C1B1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AF543C20-B7B8-2FA9-111C-AE2F8297B390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Freeform: Shape 125">
                    <a:extLst>
                      <a:ext uri="{FF2B5EF4-FFF2-40B4-BE49-F238E27FC236}">
                        <a16:creationId xmlns:a16="http://schemas.microsoft.com/office/drawing/2014/main" id="{902C7A4C-E0EC-DA5C-75B0-10807C041845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7" name="Freeform: Shape 126">
                    <a:extLst>
                      <a:ext uri="{FF2B5EF4-FFF2-40B4-BE49-F238E27FC236}">
                        <a16:creationId xmlns:a16="http://schemas.microsoft.com/office/drawing/2014/main" id="{C249334F-1423-BD84-019F-2241F1266EE9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id="{D1D9AF90-332B-6A9A-ECC4-1D8BD068E5A5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74E11405-305E-6335-CC07-89EFF2CEB498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70150C45-59AF-12E4-C4DE-81EF0D17692D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885C2737-653F-4072-6364-99A5B33EA27B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6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63" name="Graphic 162">
            <a:extLst>
              <a:ext uri="{FF2B5EF4-FFF2-40B4-BE49-F238E27FC236}">
                <a16:creationId xmlns:a16="http://schemas.microsoft.com/office/drawing/2014/main" id="{29B98225-2CF5-49F8-E375-16090E84BC8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64" name="TextBox 163">
            <a:extLst>
              <a:ext uri="{FF2B5EF4-FFF2-40B4-BE49-F238E27FC236}">
                <a16:creationId xmlns:a16="http://schemas.microsoft.com/office/drawing/2014/main" id="{14D8EF44-C2BB-8D67-94DD-795A457E67D4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1695A8C-2E0D-EB42-C43C-3A7B4F5A6528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DA922F7A-FC62-9C86-B929-B1A0B69EA8A1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713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3BF03-DFD0-0DC0-A72D-470E3BA86A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75A8C0-EF59-7823-49CE-48B48434B612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Titre de la sli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115DE2-2762-CD67-3025-4CED977B7C18}"/>
              </a:ext>
            </a:extLst>
          </p:cNvPr>
          <p:cNvSpPr txBox="1">
            <a:spLocks/>
          </p:cNvSpPr>
          <p:nvPr/>
        </p:nvSpPr>
        <p:spPr>
          <a:xfrm>
            <a:off x="539553" y="1668455"/>
            <a:ext cx="3507154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16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A19710-514A-9A49-B6CF-81C4E7DA4E38}"/>
              </a:ext>
            </a:extLst>
          </p:cNvPr>
          <p:cNvSpPr txBox="1">
            <a:spLocks/>
          </p:cNvSpPr>
          <p:nvPr/>
        </p:nvSpPr>
        <p:spPr>
          <a:xfrm>
            <a:off x="539552" y="1995686"/>
            <a:ext cx="3507156" cy="16850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, in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et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corrumpit nec, ad brut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oce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erm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h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cun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vi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4D96CC-4B71-B3C8-3C8D-20E575D66C33}"/>
              </a:ext>
            </a:extLst>
          </p:cNvPr>
          <p:cNvSpPr txBox="1">
            <a:spLocks/>
          </p:cNvSpPr>
          <p:nvPr/>
        </p:nvSpPr>
        <p:spPr>
          <a:xfrm>
            <a:off x="4906877" y="1668455"/>
            <a:ext cx="3507154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16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E68C49-234A-53F6-61D7-91ED8D8CDA27}"/>
              </a:ext>
            </a:extLst>
          </p:cNvPr>
          <p:cNvSpPr txBox="1">
            <a:spLocks/>
          </p:cNvSpPr>
          <p:nvPr/>
        </p:nvSpPr>
        <p:spPr>
          <a:xfrm>
            <a:off x="4906875" y="1995686"/>
            <a:ext cx="3507156" cy="16850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, in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et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corrumpit nec, ad brut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oce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erm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h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cun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vis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1823E47-7C86-9E98-3473-322683FE116F}"/>
              </a:ext>
            </a:extLst>
          </p:cNvPr>
          <p:cNvCxnSpPr>
            <a:cxnSpLocks/>
          </p:cNvCxnSpPr>
          <p:nvPr/>
        </p:nvCxnSpPr>
        <p:spPr>
          <a:xfrm>
            <a:off x="4476791" y="1668455"/>
            <a:ext cx="0" cy="209331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E3C49D38-D2D2-51FB-C114-C21E9CA1C82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39552" y="1292706"/>
            <a:ext cx="288032" cy="288032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7CBB448F-D453-3462-2E89-F82D770DEB71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06877" y="1292706"/>
            <a:ext cx="288032" cy="288032"/>
          </a:xfrm>
          <a:prstGeom prst="rect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BD7ACA97-FA3C-1130-B33C-0FB7880B1D93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ED0A807-2342-5905-7F01-F326F3BA28A4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F60B133-DEBF-D8C6-6C65-9002FBBD767A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D91CF71D-FD1E-E93D-8F71-1D5494318844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302FC885-310E-80B9-BDFC-AB00CAFCB327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8D0332FE-A9BE-4897-34B0-99232A5E5176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BF895A00-07F1-5996-D2F9-2BD0ACE67939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112BFCCC-2CF6-20D7-2E72-A68BAA0EE132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D776E3FA-83F9-0A45-D53E-8E8B0D08C3B8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2BAE59E9-C932-EF56-00D1-305862DBE6DF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762F2BAB-D574-ED48-3049-23EA5312126A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EDF0F9D4-B729-232A-06C5-1F4383BD1513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B0254145-134C-8501-CB7B-7C0BFEE0BA98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613B0BF5-1F04-5F22-14D0-6313A24780B8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E97D8E6E-6740-A1F8-006D-21930B8374C7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B10299A3-3290-28F7-8431-4AE40F357AF8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1B6D63B9-149A-5396-EEFD-4D977208C193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089E8C2F-7953-106C-F907-191E8C525787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6245FC0A-6843-17B7-F34A-F9049B872380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012DD6A-8E4E-F6FE-4D63-4B9A5BC9314B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D0F33BD-C7EB-B931-EF33-53D9A00E0B0D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D15077CF-126B-FA89-3909-7217A5D7A3B7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F7D39172-7DA7-CBC5-6ADA-C60932F7C870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F2BEE23D-EF1D-3200-693B-353E20C231A5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902B137F-54FE-19E0-0BFE-97EF68779757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E7D6D8CF-7AF0-E366-7AD9-8A88DFE65E71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39E25340-AA5A-70F2-244A-5EEA78772FF7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AD3A0ECB-F639-DE19-9468-BBB20DFCD8AD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73EBA9E0-7141-1F6F-8C27-9DCCC559E235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06E2C833-5A75-558E-4BC6-B094B0D6B791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7377CA6F-5B1A-7E09-2102-BC266DCCD454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FC7E68D8-D20E-18E6-9155-2AA266B88FC2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3D68F558-D77D-5E44-714D-5934B33BFCCC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7A5CD413-9931-D770-346A-CE95385D77B8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C31DAD95-0FB7-46A3-663C-14263E88C40A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DE12976F-A80E-25C7-117D-0504720E8417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8149E932-5FE9-07EC-EF06-2AD487991483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746813C1-C835-A11F-AA28-57B3567C9674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1C736985-C7CD-8CAC-04AB-494923370CEC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A42A1F07-5915-BED1-4D00-F44186932140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56DAED49-E393-815C-E7A3-D9853D384230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87F099D8-9599-AA5D-3474-BD0E255885AB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E758F1A0-CFFB-7AA8-B518-C8089A8A2C23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E5114D82-CA5A-5D6A-3C76-FF792AC7212E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6C0F395F-4F36-6430-25BE-FB61665F7485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DF024D58-6BB8-DC59-B3F3-3AB675CA9298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E58AC8A6-4314-B25A-2899-61F133698421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987EE2DB-BE5E-68B6-CBE3-51B96D5BE18F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C7716719-B92B-087D-62FA-790BC3E22D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38ECCA15-6770-B1B3-F8CB-EAE078B68F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864CBEFD-01A0-8E25-6032-5A1AB2DAC29C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05E4E755-10E3-E95B-8D0D-74380D8CF320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67A91548-6C05-792F-DC13-86C3233E4488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A5589A61-9E21-DE36-2431-3B2CC5FC45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D488D1E0-DEA4-C047-5D93-600EF5BEAC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397F92DF-31A5-1FB8-6035-879A13B080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39C233EB-70CD-01DF-0233-07496C451B9F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6604B4DB-6D05-2CA5-7C25-E661D1E13060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52916EF7-0C13-A7BA-4B1F-EB95DE3CD684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A261D6B6-15A0-692C-30A5-BC8956E59307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9E85A046-5357-32A9-5BD3-CD97640A806B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FFE9AE50-9DE7-2A61-B10D-A0674ACA79B5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BFDD480C-FE6F-3AD3-01B8-BD679E70B964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AB105421-A247-AF3B-6806-1CD08EDF89CC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A2CCA957-B828-CF3B-2579-818938A0F090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49CE06EA-9CB6-6531-CE32-CB608E08200D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216794C9-6EE9-5AE6-6308-2B9C6B260B62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71034DAD-874F-C198-DCDE-3EBE528B8797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E87FD276-4EA0-5478-A044-F07D8EFCDDE2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22A2CAF7-46E4-4E77-AB70-80395F0A699A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79F085ED-D95F-7F51-9324-041D341B11C4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17FFDB1D-6F60-F336-4E68-CD7D291AA406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C8AA7A21-104B-B9FE-5D1F-B6F8C93CDA6B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9EBE95DB-F327-2CF8-F792-EC632E66B297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D4307D0B-55C2-08C8-8205-82334DFC5B03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7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037E427E-D66B-9370-65C2-1DFCD670020D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0F4B4FF9-D164-7AA8-20C1-D208B24121B5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6A264C77-B840-DAC4-E28C-78B2DA95AE6A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197871F-2913-E598-8407-02984811A3B9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9398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A7A1CD-C535-E57A-315E-280864484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87D02-965C-B44F-10F4-5EA8CA6B36E0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Titre de la sli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2AAF2-76E2-45CF-6536-BFF4151468AC}"/>
              </a:ext>
            </a:extLst>
          </p:cNvPr>
          <p:cNvSpPr txBox="1">
            <a:spLocks/>
          </p:cNvSpPr>
          <p:nvPr/>
        </p:nvSpPr>
        <p:spPr>
          <a:xfrm>
            <a:off x="539553" y="1668455"/>
            <a:ext cx="2304255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i="1" dirty="0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FE0098-E01B-E9EA-415F-95D293BBC35A}"/>
              </a:ext>
            </a:extLst>
          </p:cNvPr>
          <p:cNvSpPr txBox="1">
            <a:spLocks/>
          </p:cNvSpPr>
          <p:nvPr/>
        </p:nvSpPr>
        <p:spPr>
          <a:xfrm>
            <a:off x="539552" y="1995686"/>
            <a:ext cx="2304256" cy="1969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ale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b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60075"/>
              </a:buClr>
              <a:buSzTx/>
              <a:buFont typeface="Century Gothic" panose="020B0502020202020204" pitchFamily="34" charset="0"/>
              <a:buChar char="-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2EF5FD-7505-3D5F-7F54-AC0337C877CD}"/>
              </a:ext>
            </a:extLst>
          </p:cNvPr>
          <p:cNvSpPr txBox="1">
            <a:spLocks/>
          </p:cNvSpPr>
          <p:nvPr/>
        </p:nvSpPr>
        <p:spPr>
          <a:xfrm>
            <a:off x="3288806" y="1668455"/>
            <a:ext cx="2304255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i="1" dirty="0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3422B-B529-C828-14C8-205DBFABAB54}"/>
              </a:ext>
            </a:extLst>
          </p:cNvPr>
          <p:cNvSpPr txBox="1">
            <a:spLocks/>
          </p:cNvSpPr>
          <p:nvPr/>
        </p:nvSpPr>
        <p:spPr>
          <a:xfrm>
            <a:off x="3288805" y="1995686"/>
            <a:ext cx="2304256" cy="1969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spcAft>
                <a:spcPts val="300"/>
              </a:spcAft>
              <a:defRPr/>
            </a:pP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171450" lvl="0" indent="-171450">
              <a:spcAft>
                <a:spcPts val="300"/>
              </a:spcAft>
              <a:buClr>
                <a:srgbClr val="060075"/>
              </a:buClr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</a:t>
            </a:r>
            <a:b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ale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</a:p>
          <a:p>
            <a:pPr marL="171450" lvl="0" indent="-171450">
              <a:spcAft>
                <a:spcPts val="300"/>
              </a:spcAft>
              <a:buClr>
                <a:srgbClr val="060075"/>
              </a:buClr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lvl="0" indent="-171450">
              <a:spcAft>
                <a:spcPts val="300"/>
              </a:spcAft>
              <a:buClr>
                <a:srgbClr val="060075"/>
              </a:buClr>
              <a:buFont typeface="Century Gothic" panose="020B0502020202020204" pitchFamily="34" charset="0"/>
              <a:buChar char="-"/>
              <a:defRPr/>
            </a:pP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b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lvl="0" indent="-171450">
              <a:spcAft>
                <a:spcPts val="1200"/>
              </a:spcAft>
              <a:buClr>
                <a:srgbClr val="060075"/>
              </a:buClr>
              <a:buFont typeface="Century Gothic" panose="020B0502020202020204" pitchFamily="34" charset="0"/>
              <a:buChar char="-"/>
              <a:defRPr/>
            </a:pP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FE1B82-CFC7-9C11-70BB-F8302154003C}"/>
              </a:ext>
            </a:extLst>
          </p:cNvPr>
          <p:cNvSpPr txBox="1">
            <a:spLocks/>
          </p:cNvSpPr>
          <p:nvPr/>
        </p:nvSpPr>
        <p:spPr>
          <a:xfrm>
            <a:off x="6038059" y="1668455"/>
            <a:ext cx="2304255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i="1" dirty="0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6D6CB3-B916-5379-0B4A-A4D3159C40D9}"/>
              </a:ext>
            </a:extLst>
          </p:cNvPr>
          <p:cNvSpPr txBox="1">
            <a:spLocks/>
          </p:cNvSpPr>
          <p:nvPr/>
        </p:nvSpPr>
        <p:spPr>
          <a:xfrm>
            <a:off x="6038058" y="1995686"/>
            <a:ext cx="2304256" cy="1969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spcAft>
                <a:spcPts val="300"/>
              </a:spcAft>
              <a:defRPr/>
            </a:pP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171450" lvl="0" indent="-171450">
              <a:spcAft>
                <a:spcPts val="300"/>
              </a:spcAft>
              <a:buClr>
                <a:srgbClr val="060075"/>
              </a:buClr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e dicta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</a:t>
            </a:r>
            <a:b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ale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</a:t>
            </a:r>
          </a:p>
          <a:p>
            <a:pPr marL="171450" lvl="0" indent="-171450">
              <a:spcAft>
                <a:spcPts val="300"/>
              </a:spcAft>
              <a:buClr>
                <a:srgbClr val="060075"/>
              </a:buClr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d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atum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oblique est, et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ffert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uta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10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xpetenda</a:t>
            </a:r>
            <a:r>
              <a:rPr lang="fr-FR" sz="10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lvl="0" indent="-171450">
              <a:spcAft>
                <a:spcPts val="300"/>
              </a:spcAft>
              <a:buClr>
                <a:srgbClr val="060075"/>
              </a:buClr>
              <a:buFont typeface="Century Gothic" panose="020B0502020202020204" pitchFamily="34" charset="0"/>
              <a:buChar char="-"/>
              <a:defRPr/>
            </a:pP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le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ostrum,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b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ertinacia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osidonium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  <a:p>
            <a:pPr marL="345600" lvl="0" indent="-171450">
              <a:spcAft>
                <a:spcPts val="1200"/>
              </a:spcAft>
              <a:buClr>
                <a:srgbClr val="060075"/>
              </a:buClr>
              <a:buFont typeface="Century Gothic" panose="020B0502020202020204" pitchFamily="34" charset="0"/>
              <a:buChar char="-"/>
              <a:defRPr/>
            </a:pP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iam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li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ppareat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verti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es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lang="fr-FR" sz="900" dirty="0" err="1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oportere</a:t>
            </a:r>
            <a:r>
              <a:rPr lang="fr-FR" sz="90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et.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FA4CF6A-6BE8-3AB6-1CF4-A9C13DB4B2B1}"/>
              </a:ext>
            </a:extLst>
          </p:cNvPr>
          <p:cNvCxnSpPr>
            <a:cxnSpLocks/>
          </p:cNvCxnSpPr>
          <p:nvPr/>
        </p:nvCxnSpPr>
        <p:spPr>
          <a:xfrm>
            <a:off x="3066306" y="1668455"/>
            <a:ext cx="0" cy="229700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EBD423-F61C-F76F-5136-229B7829445B}"/>
              </a:ext>
            </a:extLst>
          </p:cNvPr>
          <p:cNvCxnSpPr>
            <a:cxnSpLocks/>
          </p:cNvCxnSpPr>
          <p:nvPr/>
        </p:nvCxnSpPr>
        <p:spPr>
          <a:xfrm>
            <a:off x="5815559" y="1668455"/>
            <a:ext cx="0" cy="229700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8" name="Graphic 97">
            <a:extLst>
              <a:ext uri="{FF2B5EF4-FFF2-40B4-BE49-F238E27FC236}">
                <a16:creationId xmlns:a16="http://schemas.microsoft.com/office/drawing/2014/main" id="{EA7F9868-9258-A12E-4951-25B128088C6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39552" y="1292706"/>
            <a:ext cx="288032" cy="288032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173DF7F2-F5B3-A435-5B28-CF2EFD5187CD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88806" y="1292706"/>
            <a:ext cx="288032" cy="288032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38E35C2D-C56C-CC29-EBA0-DDCAB690D00E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38059" y="1292706"/>
            <a:ext cx="288032" cy="288032"/>
          </a:xfrm>
          <a:prstGeom prst="rect">
            <a:avLst/>
          </a:prstGeom>
        </p:spPr>
      </p:pic>
      <p:sp>
        <p:nvSpPr>
          <p:cNvPr id="102" name="Rectangle 101">
            <a:extLst>
              <a:ext uri="{FF2B5EF4-FFF2-40B4-BE49-F238E27FC236}">
                <a16:creationId xmlns:a16="http://schemas.microsoft.com/office/drawing/2014/main" id="{C5622DEA-3236-66B0-6550-9D303112BCF6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D087B74E-6DC8-E4FC-7573-4F4957ED8EFC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ED36B966-ED60-C535-F4FA-AD6BF8166A26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B4D47D1-1D6A-806F-29EF-DF37858B40B3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6" name="Graphic 2">
                <a:extLst>
                  <a:ext uri="{FF2B5EF4-FFF2-40B4-BE49-F238E27FC236}">
                    <a16:creationId xmlns:a16="http://schemas.microsoft.com/office/drawing/2014/main" id="{3E156BEC-E3AB-7415-C172-74B50BAABD46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AC7DBC1B-15D3-0731-E2D1-382F92330DF6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768EA0E1-0058-DE9E-4FBF-5DA26CC30540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7" name="Graphic 2">
                <a:extLst>
                  <a:ext uri="{FF2B5EF4-FFF2-40B4-BE49-F238E27FC236}">
                    <a16:creationId xmlns:a16="http://schemas.microsoft.com/office/drawing/2014/main" id="{1D635231-5D3D-BB85-2C80-FFC465901D51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F6AB4127-5991-650D-B94B-776D6B03CCA9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C178589E-EFD2-99B0-21D1-7363DB414DE6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: Shape 171">
                  <a:extLst>
                    <a:ext uri="{FF2B5EF4-FFF2-40B4-BE49-F238E27FC236}">
                      <a16:creationId xmlns:a16="http://schemas.microsoft.com/office/drawing/2014/main" id="{434ADD21-6FE9-CB3D-3344-CD3B0299EABA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: Shape 172">
                  <a:extLst>
                    <a:ext uri="{FF2B5EF4-FFF2-40B4-BE49-F238E27FC236}">
                      <a16:creationId xmlns:a16="http://schemas.microsoft.com/office/drawing/2014/main" id="{B664B44D-8DF1-676A-E18B-11338F9B8611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8" name="Graphic 2">
                <a:extLst>
                  <a:ext uri="{FF2B5EF4-FFF2-40B4-BE49-F238E27FC236}">
                    <a16:creationId xmlns:a16="http://schemas.microsoft.com/office/drawing/2014/main" id="{7CBB68F8-CEE4-B54B-D6B9-81C8FFA6CBCC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D1B44409-FA02-9F3F-0379-C4276A315995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1DA5E8CC-811D-409D-0057-ED38CB8367EC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615E2C3D-AFCD-2073-B421-EB3A19DBAE39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F15B8411-7844-2E9B-851B-03FE85A44D9A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C6EBF010-9261-580A-2E2F-D951DA0C1A47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C79D2AB3-BFF8-FE0D-53AD-3C1B933AD064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BA87166A-A5FC-39E7-604A-6B59EC6B4150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C2AC64C6-9620-4C84-A6B3-264912FAB798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FE95158E-5EF7-A01F-8196-5A9923E11E92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4" name="Graphic 2">
                <a:extLst>
                  <a:ext uri="{FF2B5EF4-FFF2-40B4-BE49-F238E27FC236}">
                    <a16:creationId xmlns:a16="http://schemas.microsoft.com/office/drawing/2014/main" id="{23C92BC6-C9EE-FCC5-733B-83CCCA1D6862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921D2509-AFCC-0D19-307B-3E5063555FFD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7DE101B9-0862-D7D6-95A5-1582E9E05518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919FCBD1-6688-4BA2-207E-A0A1AD13C3A8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3BFAF922-115D-8FF0-FDC0-96CDECF62538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7" name="Graphic 2">
                <a:extLst>
                  <a:ext uri="{FF2B5EF4-FFF2-40B4-BE49-F238E27FC236}">
                    <a16:creationId xmlns:a16="http://schemas.microsoft.com/office/drawing/2014/main" id="{932F2B57-36BE-2F4A-171B-CFC1BE512DED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CE21637F-0C0F-5E71-7942-4563A4CA8703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4BD3328A-673D-DDD9-7064-636DC9680C9D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31405187-5FA9-BCB6-80EE-BF01AFBBC361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643B0666-2CA3-FDC8-1FA2-7FE7E3F3902C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90E766C6-40CB-50F2-6BB5-C2A92141708C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222D747A-A2BC-F83E-9757-2CBAA8C3E934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B83948E5-874D-47C9-536A-9DDF880F9570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D3ED7A1D-BAB2-26CA-FDF8-63DC399EFF7E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3DD1B138-539E-C38E-3AE8-B408F42AB5E9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0E449A54-B8E4-00F9-D033-4F1AFA7FCAF5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DF70F42C-FAAB-A0A5-21DD-5F8C7513EB16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034F2CC2-5FF4-9CE6-5B2E-DAC43A9D9E6B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D62359CB-0D65-3746-1658-C769C17D395F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18238942-D499-E079-B8FC-58B38397367D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9" name="Freeform: Shape 158">
                    <a:extLst>
                      <a:ext uri="{FF2B5EF4-FFF2-40B4-BE49-F238E27FC236}">
                        <a16:creationId xmlns:a16="http://schemas.microsoft.com/office/drawing/2014/main" id="{9AD061A4-F39B-5F2B-C99A-628C1DD0D7D0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0" name="Freeform: Shape 159">
                    <a:extLst>
                      <a:ext uri="{FF2B5EF4-FFF2-40B4-BE49-F238E27FC236}">
                        <a16:creationId xmlns:a16="http://schemas.microsoft.com/office/drawing/2014/main" id="{601A31AA-BE45-7999-B446-E9B17C7B3716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370C984D-72CE-680A-6194-F4A56AE12533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0" name="Graphic 2">
                  <a:extLst>
                    <a:ext uri="{FF2B5EF4-FFF2-40B4-BE49-F238E27FC236}">
                      <a16:creationId xmlns:a16="http://schemas.microsoft.com/office/drawing/2014/main" id="{07B2927A-8F7A-C1D3-887A-B4C139194165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39F58FEC-A066-F1CF-BC8C-B3FC2C8D9E83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6" name="Graphic 2">
                    <a:extLst>
                      <a:ext uri="{FF2B5EF4-FFF2-40B4-BE49-F238E27FC236}">
                        <a16:creationId xmlns:a16="http://schemas.microsoft.com/office/drawing/2014/main" id="{12A9B5CB-C291-CD1A-93DE-EC4C8129405D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7" name="Freeform: Shape 156">
                      <a:extLst>
                        <a:ext uri="{FF2B5EF4-FFF2-40B4-BE49-F238E27FC236}">
                          <a16:creationId xmlns:a16="http://schemas.microsoft.com/office/drawing/2014/main" id="{86A4EE45-40ED-6D96-E589-AA168D7343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8" name="Freeform: Shape 157">
                      <a:extLst>
                        <a:ext uri="{FF2B5EF4-FFF2-40B4-BE49-F238E27FC236}">
                          <a16:creationId xmlns:a16="http://schemas.microsoft.com/office/drawing/2014/main" id="{6EF10EE1-81F0-4772-8744-057B008503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1BE9B68F-BBC7-93E5-D3DF-810CDFC7B80A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67C0DFA4-9040-2D7F-4F00-55DA5F06D4C4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9" name="Graphic 2">
                    <a:extLst>
                      <a:ext uri="{FF2B5EF4-FFF2-40B4-BE49-F238E27FC236}">
                        <a16:creationId xmlns:a16="http://schemas.microsoft.com/office/drawing/2014/main" id="{80F0AAD0-4B12-1643-7B8B-3B5BACBC7C67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E3A12F7D-B29B-2576-3B9E-453F6DBD5B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5" name="Freeform: Shape 154">
                      <a:extLst>
                        <a:ext uri="{FF2B5EF4-FFF2-40B4-BE49-F238E27FC236}">
                          <a16:creationId xmlns:a16="http://schemas.microsoft.com/office/drawing/2014/main" id="{1AE659AE-B3DB-7323-6CE5-C8F10F03AE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6" name="Freeform: Shape 155">
                      <a:extLst>
                        <a:ext uri="{FF2B5EF4-FFF2-40B4-BE49-F238E27FC236}">
                          <a16:creationId xmlns:a16="http://schemas.microsoft.com/office/drawing/2014/main" id="{D130D37C-FE3B-3C80-8D8B-BED1C7ADEB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FE8418D3-3738-69F6-3EF2-CFFA89A112B9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679EC120-982C-68B4-4823-FB0AEA1B9F64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FCC09218-CF37-F906-4D4D-06D1D8ABFB91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7034090D-50DB-9EB7-3B83-52244657471F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866F18C5-7A27-F27B-42F1-051993882BCB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2" name="Graphic 2">
                  <a:extLst>
                    <a:ext uri="{FF2B5EF4-FFF2-40B4-BE49-F238E27FC236}">
                      <a16:creationId xmlns:a16="http://schemas.microsoft.com/office/drawing/2014/main" id="{822837D8-C6D3-F92E-A16F-83F456F1C74C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7D641140-2F5E-D051-7C57-1A1E285B0D0A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B220C190-95B1-14AC-2606-16D92E9156F0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5A97C738-7BDF-9856-E01B-1D384657270F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D6EEC36B-BC85-3D2D-B749-84DA7DE05C27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48BCBCD3-FB33-69DB-39BD-1EEF9C52E441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66687097-5CC8-8195-B61F-F9A9F4FFA17F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0659D246-233C-7407-182B-EB87FD3959C8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6B27613D-7A34-44A1-F741-F08FC8828A26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841D1A01-BCC7-7E58-7E82-6F57EC4EDC7E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2" name="Rectangle 141">
                    <a:extLst>
                      <a:ext uri="{FF2B5EF4-FFF2-40B4-BE49-F238E27FC236}">
                        <a16:creationId xmlns:a16="http://schemas.microsoft.com/office/drawing/2014/main" id="{4615BFDE-0F73-534A-2485-58E33A5B2C75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282989E2-57CA-82D9-0509-E11CB684449D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25D4328F-1727-6178-B816-888CC3954828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18ADA6C3-3A44-9AC8-61A1-823D55C2A71E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8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7" name="Graphic 176">
            <a:extLst>
              <a:ext uri="{FF2B5EF4-FFF2-40B4-BE49-F238E27FC236}">
                <a16:creationId xmlns:a16="http://schemas.microsoft.com/office/drawing/2014/main" id="{5CF9DAF4-6A11-E825-2D36-F0362022C8EE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8" name="TextBox 177">
            <a:extLst>
              <a:ext uri="{FF2B5EF4-FFF2-40B4-BE49-F238E27FC236}">
                <a16:creationId xmlns:a16="http://schemas.microsoft.com/office/drawing/2014/main" id="{CB0D6D42-E84F-702B-3B54-966BEBFE51E4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2525CEB5-7D8A-6FF3-8F0D-050BDF781A45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E8B4B5B7-A56B-37F5-F235-F452FFC6AFB5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399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F7848-8093-0EA7-6E17-E3770C571A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B4B7CB-66E7-8D2D-3200-832CF344945E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Titre de la slide</a:t>
            </a:r>
          </a:p>
        </p:txBody>
      </p:sp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A8AD7D12-AE64-DDC0-0108-A29570521285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423" y="2051797"/>
            <a:ext cx="345362" cy="345360"/>
          </a:xfrm>
          <a:prstGeom prst="rect">
            <a:avLst/>
          </a:prstGeom>
        </p:spPr>
      </p:pic>
      <p:pic>
        <p:nvPicPr>
          <p:cNvPr id="4" name="Graphic 3" hidden="1">
            <a:extLst>
              <a:ext uri="{FF2B5EF4-FFF2-40B4-BE49-F238E27FC236}">
                <a16:creationId xmlns:a16="http://schemas.microsoft.com/office/drawing/2014/main" id="{ACB0E256-BCB7-74CF-F6E6-C71B23FE16EC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3848" y="2051797"/>
            <a:ext cx="345362" cy="345360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FE11F99-6360-107E-BC9F-6CA44B7D65B9}"/>
              </a:ext>
            </a:extLst>
          </p:cNvPr>
          <p:cNvSpPr>
            <a:spLocks/>
          </p:cNvSpPr>
          <p:nvPr/>
        </p:nvSpPr>
        <p:spPr>
          <a:xfrm>
            <a:off x="601670" y="3080059"/>
            <a:ext cx="7743298" cy="1088939"/>
          </a:xfrm>
          <a:prstGeom prst="roundRect">
            <a:avLst>
              <a:gd name="adj" fmla="val 8549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>
            <a:glow rad="127000">
              <a:schemeClr val="bg1">
                <a:alpha val="16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D9A8C6-97B8-19D4-CAAD-AC9F52A21777}"/>
              </a:ext>
            </a:extLst>
          </p:cNvPr>
          <p:cNvSpPr txBox="1">
            <a:spLocks/>
          </p:cNvSpPr>
          <p:nvPr/>
        </p:nvSpPr>
        <p:spPr>
          <a:xfrm>
            <a:off x="872920" y="3347529"/>
            <a:ext cx="1394823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i="1" dirty="0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4BB0C21-82B5-B042-F5E6-95E107B14118}"/>
              </a:ext>
            </a:extLst>
          </p:cNvPr>
          <p:cNvSpPr txBox="1">
            <a:spLocks/>
          </p:cNvSpPr>
          <p:nvPr/>
        </p:nvSpPr>
        <p:spPr>
          <a:xfrm>
            <a:off x="2628594" y="3382154"/>
            <a:ext cx="5445125" cy="4847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Quo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b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ib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. Na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j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t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r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muci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5714CD-D2DC-0B44-A898-BF3D5CE51EFB}"/>
              </a:ext>
            </a:extLst>
          </p:cNvPr>
          <p:cNvSpPr txBox="1">
            <a:spLocks/>
          </p:cNvSpPr>
          <p:nvPr/>
        </p:nvSpPr>
        <p:spPr>
          <a:xfrm>
            <a:off x="872920" y="1329969"/>
            <a:ext cx="1394823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2465C04-2FC2-C401-5062-864251003C06}"/>
              </a:ext>
            </a:extLst>
          </p:cNvPr>
          <p:cNvSpPr txBox="1">
            <a:spLocks/>
          </p:cNvSpPr>
          <p:nvPr/>
        </p:nvSpPr>
        <p:spPr>
          <a:xfrm>
            <a:off x="2628594" y="1364594"/>
            <a:ext cx="5445125" cy="4847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Quo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b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ib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. Na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j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t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r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muci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7E1E7E6-01A6-85EF-8E17-7B23C456225B}"/>
              </a:ext>
            </a:extLst>
          </p:cNvPr>
          <p:cNvCxnSpPr>
            <a:cxnSpLocks/>
          </p:cNvCxnSpPr>
          <p:nvPr/>
        </p:nvCxnSpPr>
        <p:spPr>
          <a:xfrm>
            <a:off x="2411760" y="1275606"/>
            <a:ext cx="0" cy="66272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7B1D1961-2C0E-D3F2-D232-929D9692C2BB}"/>
              </a:ext>
            </a:extLst>
          </p:cNvPr>
          <p:cNvSpPr txBox="1">
            <a:spLocks/>
          </p:cNvSpPr>
          <p:nvPr/>
        </p:nvSpPr>
        <p:spPr>
          <a:xfrm>
            <a:off x="872920" y="2232196"/>
            <a:ext cx="1394823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da-DK" sz="1600" i="1" dirty="0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0EC46A-B14D-5D0D-7553-E8C0898ADCD5}"/>
              </a:ext>
            </a:extLst>
          </p:cNvPr>
          <p:cNvSpPr txBox="1">
            <a:spLocks/>
          </p:cNvSpPr>
          <p:nvPr/>
        </p:nvSpPr>
        <p:spPr>
          <a:xfrm>
            <a:off x="2628594" y="2266821"/>
            <a:ext cx="5445125" cy="4847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Cu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a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, n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su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udit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reprimiqu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Quo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b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ib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. Na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just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rr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t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r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muci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issenti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qui. A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rpor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gubergren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hilosophia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mea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A5FC5D3-A355-3B65-CA6D-01FD7E1C2146}"/>
              </a:ext>
            </a:extLst>
          </p:cNvPr>
          <p:cNvCxnSpPr>
            <a:cxnSpLocks/>
          </p:cNvCxnSpPr>
          <p:nvPr/>
        </p:nvCxnSpPr>
        <p:spPr>
          <a:xfrm>
            <a:off x="2411760" y="2177833"/>
            <a:ext cx="0" cy="66272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E112D7D-89C6-B1B2-C198-C7725C490F37}"/>
              </a:ext>
            </a:extLst>
          </p:cNvPr>
          <p:cNvCxnSpPr>
            <a:cxnSpLocks/>
          </p:cNvCxnSpPr>
          <p:nvPr/>
        </p:nvCxnSpPr>
        <p:spPr>
          <a:xfrm>
            <a:off x="2411760" y="3293166"/>
            <a:ext cx="0" cy="66272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936703-48EC-6CC9-5AF7-819CE72F0EA7}"/>
              </a:ext>
            </a:extLst>
          </p:cNvPr>
          <p:cNvSpPr/>
          <p:nvPr/>
        </p:nvSpPr>
        <p:spPr>
          <a:xfrm flipH="1" flipV="1">
            <a:off x="7400415" y="202362"/>
            <a:ext cx="1743585" cy="2376391"/>
          </a:xfrm>
          <a:custGeom>
            <a:avLst/>
            <a:gdLst>
              <a:gd name="csX0" fmla="*/ 0 w 1743585"/>
              <a:gd name="csY0" fmla="*/ 2376391 h 2376391"/>
              <a:gd name="csX1" fmla="*/ 0 w 1743585"/>
              <a:gd name="csY1" fmla="*/ 2258818 h 2376391"/>
              <a:gd name="csX2" fmla="*/ 1094720 w 1743585"/>
              <a:gd name="csY2" fmla="*/ 2272809 h 2376391"/>
              <a:gd name="csX3" fmla="*/ 1165378 w 1743585"/>
              <a:gd name="csY3" fmla="*/ 2237349 h 2376391"/>
              <a:gd name="csX4" fmla="*/ 1549842 w 1743585"/>
              <a:gd name="csY4" fmla="*/ 1507063 h 2376391"/>
              <a:gd name="csX5" fmla="*/ 0 w 1743585"/>
              <a:gd name="csY5" fmla="*/ 1507063 h 2376391"/>
              <a:gd name="csX6" fmla="*/ 0 w 1743585"/>
              <a:gd name="csY6" fmla="*/ 1386862 h 2376391"/>
              <a:gd name="csX7" fmla="*/ 1592250 w 1743585"/>
              <a:gd name="csY7" fmla="*/ 1400621 h 2376391"/>
              <a:gd name="csX8" fmla="*/ 0 w 1743585"/>
              <a:gd name="csY8" fmla="*/ 180951 h 2376391"/>
              <a:gd name="csX9" fmla="*/ 0 w 1743585"/>
              <a:gd name="csY9" fmla="*/ 0 h 2376391"/>
              <a:gd name="csX10" fmla="*/ 1721032 w 1743585"/>
              <a:gd name="csY10" fmla="*/ 1324963 h 2376391"/>
              <a:gd name="csX11" fmla="*/ 1724474 w 1743585"/>
              <a:gd name="csY11" fmla="*/ 1480242 h 2376391"/>
              <a:gd name="csX12" fmla="*/ 1231296 w 1743585"/>
              <a:gd name="csY12" fmla="*/ 2367041 h 23763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743585" h="2376391">
                <a:moveTo>
                  <a:pt x="0" y="2376391"/>
                </a:moveTo>
                <a:lnTo>
                  <a:pt x="0" y="2258818"/>
                </a:lnTo>
                <a:lnTo>
                  <a:pt x="1094720" y="2272809"/>
                </a:lnTo>
                <a:lnTo>
                  <a:pt x="1165378" y="2237349"/>
                </a:lnTo>
                <a:lnTo>
                  <a:pt x="1549842" y="1507063"/>
                </a:lnTo>
                <a:lnTo>
                  <a:pt x="0" y="1507063"/>
                </a:lnTo>
                <a:lnTo>
                  <a:pt x="0" y="1386862"/>
                </a:lnTo>
                <a:lnTo>
                  <a:pt x="1592250" y="1400621"/>
                </a:lnTo>
                <a:lnTo>
                  <a:pt x="0" y="180951"/>
                </a:lnTo>
                <a:lnTo>
                  <a:pt x="0" y="0"/>
                </a:lnTo>
                <a:lnTo>
                  <a:pt x="1721032" y="1324963"/>
                </a:lnTo>
                <a:cubicBezTo>
                  <a:pt x="1755127" y="1370423"/>
                  <a:pt x="1745775" y="1431405"/>
                  <a:pt x="1724474" y="1480242"/>
                </a:cubicBezTo>
                <a:lnTo>
                  <a:pt x="1231296" y="236704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20000"/>
            </a:schemeClr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95855E-DEFA-A066-BAE3-450A2303719F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F547A4-8B9C-80D2-1B08-40397CEC570F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749E7E0-C871-393F-11F4-94EFF3DF1334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249E70C-C6D2-BF28-5191-FDE44DA1C382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" name="Graphic 2">
                <a:extLst>
                  <a:ext uri="{FF2B5EF4-FFF2-40B4-BE49-F238E27FC236}">
                    <a16:creationId xmlns:a16="http://schemas.microsoft.com/office/drawing/2014/main" id="{C90DCFAA-ADC3-37B7-541D-9D2479BBF796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4CE798DD-8210-B40A-962B-5DEEBE1CA4C6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17A69650-3EE7-37B9-85CB-32AA8C797EBB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" name="Graphic 2">
                <a:extLst>
                  <a:ext uri="{FF2B5EF4-FFF2-40B4-BE49-F238E27FC236}">
                    <a16:creationId xmlns:a16="http://schemas.microsoft.com/office/drawing/2014/main" id="{BABAB289-1822-C1AC-1D2C-363E249493BD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F3CBF9F3-71B7-970B-00B0-955208E4C6E1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9DAFF23E-2579-413D-0109-3942160D3986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52FD897B-3CA4-637F-429B-6CA23F882B03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0A62C1C8-43BB-71C1-0962-6EBE187D08C4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" name="Graphic 2">
                <a:extLst>
                  <a:ext uri="{FF2B5EF4-FFF2-40B4-BE49-F238E27FC236}">
                    <a16:creationId xmlns:a16="http://schemas.microsoft.com/office/drawing/2014/main" id="{FA5A5FA7-5758-6E78-D993-7F89D2275C47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2106CCC9-354E-859B-4ADF-0251D778E054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C98ACEF5-33EA-2833-249C-6AC12A9292CB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41DB36F9-2B5F-D750-702B-EB96605B8D40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88884E5A-4CE6-2E73-8495-750DB7C3C28F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0B3BAF4-CE6A-85BD-D5B2-436128D360AB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A967C50-308D-60F5-274B-8D5485A6E7EB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A18AA7E2-3262-43A9-4BF9-FF3858272272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6E51D838-1398-A0C2-967F-CB68D85AE33B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22C3C62-7386-1C6F-4A73-E8F929F4A15B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8" name="Graphic 2">
                <a:extLst>
                  <a:ext uri="{FF2B5EF4-FFF2-40B4-BE49-F238E27FC236}">
                    <a16:creationId xmlns:a16="http://schemas.microsoft.com/office/drawing/2014/main" id="{E01ECDD7-3C8B-2C8B-2CCA-375110BEA2C0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F9D615E1-5901-BE89-76B1-20E8C2C5AD3A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038FABA3-043D-7B95-95C8-4AC3552D933D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49AD0C6-A5EB-8599-D209-762123051181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29D9A8F2-C496-E32D-1117-AFF767163B6C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21" name="Graphic 2">
                <a:extLst>
                  <a:ext uri="{FF2B5EF4-FFF2-40B4-BE49-F238E27FC236}">
                    <a16:creationId xmlns:a16="http://schemas.microsoft.com/office/drawing/2014/main" id="{FB491BCA-F019-0405-8C55-4018852BAAC5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185A29FC-7550-056E-E47E-65F5AD068E3B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7E73C4C0-22BB-4633-2F80-A37997A7E0C6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C880F167-0EB6-6253-DECF-EBA86D338BBC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9A5B4DC-41E0-34D7-23B7-BDCD4AC044D4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E1BACBE3-BC8E-0F58-3235-326AE4A86262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5A341968-5307-A590-732D-016C58BBF289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7F9B0ACB-1402-CDEF-8677-8EBD1A8A3D6C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0C70F346-3F32-1C38-6D9E-C67658CADC42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16E5D663-55CA-4B24-7CB9-20364E7D7DAF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72A71FBF-B0CF-2B34-4684-C1C16681A41A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0F77D41D-FDB8-F704-3EDB-DE7FB52CEA70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2672925D-D873-7018-79F9-961F242544BD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C3E1EEC3-A486-CCBD-C921-009FD6E264E5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2" name="Graphic 2">
                  <a:extLst>
                    <a:ext uri="{FF2B5EF4-FFF2-40B4-BE49-F238E27FC236}">
                      <a16:creationId xmlns:a16="http://schemas.microsoft.com/office/drawing/2014/main" id="{10BD8887-A567-E9E6-95BC-16A54F29940C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2E5E5C8C-991A-1C6B-926B-631ED9912BB2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79B91955-8B6C-F0FD-C0F5-F8139AE6982F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FD134140-659D-A51E-450C-997AD98ADC3E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4" name="Graphic 2">
                  <a:extLst>
                    <a:ext uri="{FF2B5EF4-FFF2-40B4-BE49-F238E27FC236}">
                      <a16:creationId xmlns:a16="http://schemas.microsoft.com/office/drawing/2014/main" id="{5E92A3C7-797C-4FC5-BC71-5ED85C513DF4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49CD7500-8B2E-0D5F-DD45-6C58E545E437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0" name="Graphic 2">
                    <a:extLst>
                      <a:ext uri="{FF2B5EF4-FFF2-40B4-BE49-F238E27FC236}">
                        <a16:creationId xmlns:a16="http://schemas.microsoft.com/office/drawing/2014/main" id="{39440D43-92BE-3FFB-0FA2-BD12041F15C7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45" name="Freeform: Shape 144">
                      <a:extLst>
                        <a:ext uri="{FF2B5EF4-FFF2-40B4-BE49-F238E27FC236}">
                          <a16:creationId xmlns:a16="http://schemas.microsoft.com/office/drawing/2014/main" id="{85985474-294E-2777-0005-F76DF69601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37BF1AC8-BCC3-B6EC-0F4F-D9D04129BF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BD605C03-61AA-01CA-589C-A5DFDF3E3B72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: Shape 61">
                    <a:extLst>
                      <a:ext uri="{FF2B5EF4-FFF2-40B4-BE49-F238E27FC236}">
                        <a16:creationId xmlns:a16="http://schemas.microsoft.com/office/drawing/2014/main" id="{6C94B68B-37BC-B421-E5C7-2511F535A912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3" name="Graphic 2">
                    <a:extLst>
                      <a:ext uri="{FF2B5EF4-FFF2-40B4-BE49-F238E27FC236}">
                        <a16:creationId xmlns:a16="http://schemas.microsoft.com/office/drawing/2014/main" id="{AF60FB06-A77F-81D9-709A-11FC24B3AC15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68" name="Freeform: Shape 67">
                      <a:extLst>
                        <a:ext uri="{FF2B5EF4-FFF2-40B4-BE49-F238E27FC236}">
                          <a16:creationId xmlns:a16="http://schemas.microsoft.com/office/drawing/2014/main" id="{CCE2C029-BE76-6856-3BEB-E4C4A22690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9" name="Freeform: Shape 68">
                      <a:extLst>
                        <a:ext uri="{FF2B5EF4-FFF2-40B4-BE49-F238E27FC236}">
                          <a16:creationId xmlns:a16="http://schemas.microsoft.com/office/drawing/2014/main" id="{9D87DF38-7282-A3D4-BD85-A9B667632B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1" name="Freeform: Shape 70">
                      <a:extLst>
                        <a:ext uri="{FF2B5EF4-FFF2-40B4-BE49-F238E27FC236}">
                          <a16:creationId xmlns:a16="http://schemas.microsoft.com/office/drawing/2014/main" id="{EB5FD187-2D1C-527D-688F-C1AD04077E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4" name="Freeform: Shape 63">
                    <a:extLst>
                      <a:ext uri="{FF2B5EF4-FFF2-40B4-BE49-F238E27FC236}">
                        <a16:creationId xmlns:a16="http://schemas.microsoft.com/office/drawing/2014/main" id="{C7198994-6894-03E6-60F8-A40F40387EA2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: Shape 64">
                    <a:extLst>
                      <a:ext uri="{FF2B5EF4-FFF2-40B4-BE49-F238E27FC236}">
                        <a16:creationId xmlns:a16="http://schemas.microsoft.com/office/drawing/2014/main" id="{4791EDDA-D500-F898-743B-1BD55C4EE456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BC3BA865-DDD8-E1B3-E5EF-7C02C4D4FF51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1DE17409-4F57-2CD2-D358-327D6C78A04D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3E4043C8-6CDA-8FF9-7777-C878DDCE33B5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6" name="Graphic 2">
                  <a:extLst>
                    <a:ext uri="{FF2B5EF4-FFF2-40B4-BE49-F238E27FC236}">
                      <a16:creationId xmlns:a16="http://schemas.microsoft.com/office/drawing/2014/main" id="{F78BE60D-6148-E78E-2304-B8823438DE8A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77B5721D-D16C-D8AE-ADF0-2AFE1569F5DF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9CB91E9D-CEB8-91A3-5002-BE23162DF06D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EE9B0775-ABE8-0FC2-CA36-69C593EE2077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AC464617-4956-B287-A43B-64EFE8ECB5D1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0FCCCE4C-7A39-7C78-D3DB-562368C92AC5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0062024D-9E11-FB73-A772-8F49229BC977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3413F678-57A5-EDF4-C1C0-BB771DEBCD54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F13A8F58-7ADB-BEF1-3660-D872ABDD8C0E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F64D66DB-D460-27F5-424C-78F6C38083C2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C70AE4A7-EB57-57D6-67E1-0CCFAA1E0101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92F16F69-DB6D-0A92-4BF5-C5ECD65BD548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000C1F5E-218D-4E34-BB07-F1DABED4302B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69" name="TextBox 168">
            <a:extLst>
              <a:ext uri="{FF2B5EF4-FFF2-40B4-BE49-F238E27FC236}">
                <a16:creationId xmlns:a16="http://schemas.microsoft.com/office/drawing/2014/main" id="{3C2DD612-DF39-375E-026D-24FBEE4154C9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19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58C21EA2-6212-3669-DC27-2A2601EFA7B0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A53E50BE-ABB4-4027-35B4-05666D3E7186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2FB9985-E000-6DD0-0A26-0B3BD8D4C23D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C2633979-FD23-B333-F2F8-8A94B987C157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616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1E3FCF-3BC8-2568-F8D7-9D7DA0E9BF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A38A82D6-BDF1-DDF8-1B11-F84584ADC2EB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3F8B7F4-1127-2A07-3F6D-5A67BA840A1D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E3F10A63-7A0B-1710-CF6E-BE84D02BE38A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6075CEA1-E285-E773-84C2-C764B1E40C5A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CC142780-BDDC-EA55-7D66-871B0F163924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1DC131E-66ED-57C2-FC18-987A7C75BE7B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93048E6-3DFD-EFFA-D2C6-88C09971248E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B97A59C-D883-98A7-A569-8984212572C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1E64B17-795A-49D2-A42E-7BEB2C937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798" y="934828"/>
            <a:ext cx="3858942" cy="385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16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8B46D4-6A32-A311-3883-03E4AC1AC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CBDE5FB-AAFD-0AEF-EB5C-4A35743A510C}"/>
              </a:ext>
            </a:extLst>
          </p:cNvPr>
          <p:cNvSpPr/>
          <p:nvPr/>
        </p:nvSpPr>
        <p:spPr>
          <a:xfrm flipH="1" flipV="1">
            <a:off x="7400415" y="202362"/>
            <a:ext cx="1743585" cy="2376391"/>
          </a:xfrm>
          <a:custGeom>
            <a:avLst/>
            <a:gdLst>
              <a:gd name="csX0" fmla="*/ 0 w 1743585"/>
              <a:gd name="csY0" fmla="*/ 2376391 h 2376391"/>
              <a:gd name="csX1" fmla="*/ 0 w 1743585"/>
              <a:gd name="csY1" fmla="*/ 2258818 h 2376391"/>
              <a:gd name="csX2" fmla="*/ 1094720 w 1743585"/>
              <a:gd name="csY2" fmla="*/ 2272809 h 2376391"/>
              <a:gd name="csX3" fmla="*/ 1165378 w 1743585"/>
              <a:gd name="csY3" fmla="*/ 2237349 h 2376391"/>
              <a:gd name="csX4" fmla="*/ 1549842 w 1743585"/>
              <a:gd name="csY4" fmla="*/ 1507063 h 2376391"/>
              <a:gd name="csX5" fmla="*/ 0 w 1743585"/>
              <a:gd name="csY5" fmla="*/ 1507063 h 2376391"/>
              <a:gd name="csX6" fmla="*/ 0 w 1743585"/>
              <a:gd name="csY6" fmla="*/ 1386862 h 2376391"/>
              <a:gd name="csX7" fmla="*/ 1592250 w 1743585"/>
              <a:gd name="csY7" fmla="*/ 1400621 h 2376391"/>
              <a:gd name="csX8" fmla="*/ 0 w 1743585"/>
              <a:gd name="csY8" fmla="*/ 180951 h 2376391"/>
              <a:gd name="csX9" fmla="*/ 0 w 1743585"/>
              <a:gd name="csY9" fmla="*/ 0 h 2376391"/>
              <a:gd name="csX10" fmla="*/ 1721032 w 1743585"/>
              <a:gd name="csY10" fmla="*/ 1324963 h 2376391"/>
              <a:gd name="csX11" fmla="*/ 1724474 w 1743585"/>
              <a:gd name="csY11" fmla="*/ 1480242 h 2376391"/>
              <a:gd name="csX12" fmla="*/ 1231296 w 1743585"/>
              <a:gd name="csY12" fmla="*/ 2367041 h 23763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743585" h="2376391">
                <a:moveTo>
                  <a:pt x="0" y="2376391"/>
                </a:moveTo>
                <a:lnTo>
                  <a:pt x="0" y="2258818"/>
                </a:lnTo>
                <a:lnTo>
                  <a:pt x="1094720" y="2272809"/>
                </a:lnTo>
                <a:lnTo>
                  <a:pt x="1165378" y="2237349"/>
                </a:lnTo>
                <a:lnTo>
                  <a:pt x="1549842" y="1507063"/>
                </a:lnTo>
                <a:lnTo>
                  <a:pt x="0" y="1507063"/>
                </a:lnTo>
                <a:lnTo>
                  <a:pt x="0" y="1386862"/>
                </a:lnTo>
                <a:lnTo>
                  <a:pt x="1592250" y="1400621"/>
                </a:lnTo>
                <a:lnTo>
                  <a:pt x="0" y="180951"/>
                </a:lnTo>
                <a:lnTo>
                  <a:pt x="0" y="0"/>
                </a:lnTo>
                <a:lnTo>
                  <a:pt x="1721032" y="1324963"/>
                </a:lnTo>
                <a:cubicBezTo>
                  <a:pt x="1755127" y="1370423"/>
                  <a:pt x="1745775" y="1431405"/>
                  <a:pt x="1724474" y="1480242"/>
                </a:cubicBezTo>
                <a:lnTo>
                  <a:pt x="1231296" y="236704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20000"/>
            </a:schemeClr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81B2D442-5187-1938-B39E-8CE892429A7F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1" r="399" b="20389"/>
          <a:stretch>
            <a:fillRect/>
          </a:stretch>
        </p:blipFill>
        <p:spPr>
          <a:xfrm>
            <a:off x="558183" y="2955340"/>
            <a:ext cx="7922375" cy="1419225"/>
          </a:xfrm>
          <a:custGeom>
            <a:avLst/>
            <a:gdLst>
              <a:gd name="csX0" fmla="*/ 93910 w 7922375"/>
              <a:gd name="csY0" fmla="*/ 0 h 1419225"/>
              <a:gd name="csX1" fmla="*/ 7828465 w 7922375"/>
              <a:gd name="csY1" fmla="*/ 0 h 1419225"/>
              <a:gd name="csX2" fmla="*/ 7922375 w 7922375"/>
              <a:gd name="csY2" fmla="*/ 93910 h 1419225"/>
              <a:gd name="csX3" fmla="*/ 7922375 w 7922375"/>
              <a:gd name="csY3" fmla="*/ 1325315 h 1419225"/>
              <a:gd name="csX4" fmla="*/ 7828465 w 7922375"/>
              <a:gd name="csY4" fmla="*/ 1419225 h 1419225"/>
              <a:gd name="csX5" fmla="*/ 93910 w 7922375"/>
              <a:gd name="csY5" fmla="*/ 1419225 h 1419225"/>
              <a:gd name="csX6" fmla="*/ 0 w 7922375"/>
              <a:gd name="csY6" fmla="*/ 1325315 h 1419225"/>
              <a:gd name="csX7" fmla="*/ 0 w 7922375"/>
              <a:gd name="csY7" fmla="*/ 93910 h 1419225"/>
              <a:gd name="csX8" fmla="*/ 93910 w 7922375"/>
              <a:gd name="csY8" fmla="*/ 0 h 14192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7922375" h="1419225">
                <a:moveTo>
                  <a:pt x="93910" y="0"/>
                </a:moveTo>
                <a:lnTo>
                  <a:pt x="7828465" y="0"/>
                </a:lnTo>
                <a:cubicBezTo>
                  <a:pt x="7880330" y="0"/>
                  <a:pt x="7922375" y="42045"/>
                  <a:pt x="7922375" y="93910"/>
                </a:cubicBezTo>
                <a:lnTo>
                  <a:pt x="7922375" y="1325315"/>
                </a:lnTo>
                <a:cubicBezTo>
                  <a:pt x="7922375" y="1377180"/>
                  <a:pt x="7880330" y="1419225"/>
                  <a:pt x="7828465" y="1419225"/>
                </a:cubicBezTo>
                <a:lnTo>
                  <a:pt x="93910" y="1419225"/>
                </a:lnTo>
                <a:cubicBezTo>
                  <a:pt x="42045" y="1419225"/>
                  <a:pt x="0" y="1377180"/>
                  <a:pt x="0" y="1325315"/>
                </a:cubicBezTo>
                <a:lnTo>
                  <a:pt x="0" y="93910"/>
                </a:lnTo>
                <a:cubicBezTo>
                  <a:pt x="0" y="42045"/>
                  <a:pt x="42045" y="0"/>
                  <a:pt x="93910" y="0"/>
                </a:cubicBez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E82857-ABE0-B096-E54C-1FA6C9A63E70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Titre de la slid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654F78-347E-6525-A528-C93F0ABA590C}"/>
              </a:ext>
            </a:extLst>
          </p:cNvPr>
          <p:cNvSpPr txBox="1">
            <a:spLocks/>
          </p:cNvSpPr>
          <p:nvPr/>
        </p:nvSpPr>
        <p:spPr>
          <a:xfrm>
            <a:off x="558182" y="1580441"/>
            <a:ext cx="2160238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6658910-9646-FC52-62E0-0577104DA4BD}"/>
              </a:ext>
            </a:extLst>
          </p:cNvPr>
          <p:cNvSpPr txBox="1">
            <a:spLocks/>
          </p:cNvSpPr>
          <p:nvPr/>
        </p:nvSpPr>
        <p:spPr>
          <a:xfrm>
            <a:off x="558182" y="1864730"/>
            <a:ext cx="2160238" cy="830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,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Ne dicta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endParaRPr lang="fr-FR" sz="1050" dirty="0">
              <a:solidFill>
                <a:srgbClr val="2D0F64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1234C2-C37A-691F-8573-D42C2C8DF831}"/>
              </a:ext>
            </a:extLst>
          </p:cNvPr>
          <p:cNvSpPr txBox="1">
            <a:spLocks/>
          </p:cNvSpPr>
          <p:nvPr/>
        </p:nvSpPr>
        <p:spPr>
          <a:xfrm>
            <a:off x="558181" y="1104864"/>
            <a:ext cx="2160237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01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9801575-8AA3-634E-5F50-93A58BDEDF61}"/>
              </a:ext>
            </a:extLst>
          </p:cNvPr>
          <p:cNvSpPr txBox="1">
            <a:spLocks/>
          </p:cNvSpPr>
          <p:nvPr/>
        </p:nvSpPr>
        <p:spPr>
          <a:xfrm>
            <a:off x="3439251" y="1580441"/>
            <a:ext cx="2160238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16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531AEA-3E64-7E09-EFFC-9F27F033089B}"/>
              </a:ext>
            </a:extLst>
          </p:cNvPr>
          <p:cNvSpPr txBox="1">
            <a:spLocks/>
          </p:cNvSpPr>
          <p:nvPr/>
        </p:nvSpPr>
        <p:spPr>
          <a:xfrm>
            <a:off x="3439251" y="1864730"/>
            <a:ext cx="2160238" cy="830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,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Ne dicta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C39B53C-9672-79EB-3CC8-96F635C1EC70}"/>
              </a:ext>
            </a:extLst>
          </p:cNvPr>
          <p:cNvSpPr txBox="1">
            <a:spLocks/>
          </p:cNvSpPr>
          <p:nvPr/>
        </p:nvSpPr>
        <p:spPr>
          <a:xfrm>
            <a:off x="3439250" y="1104864"/>
            <a:ext cx="2160237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02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DEF49C-D9CB-A52B-7547-1416D0778AEA}"/>
              </a:ext>
            </a:extLst>
          </p:cNvPr>
          <p:cNvSpPr txBox="1">
            <a:spLocks/>
          </p:cNvSpPr>
          <p:nvPr/>
        </p:nvSpPr>
        <p:spPr>
          <a:xfrm>
            <a:off x="6320319" y="1580441"/>
            <a:ext cx="2160238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16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Titre du paragraph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EE0290A-779B-D718-9BD1-43ACC3C64D66}"/>
              </a:ext>
            </a:extLst>
          </p:cNvPr>
          <p:cNvSpPr txBox="1">
            <a:spLocks/>
          </p:cNvSpPr>
          <p:nvPr/>
        </p:nvSpPr>
        <p:spPr>
          <a:xfrm>
            <a:off x="6320319" y="1864730"/>
            <a:ext cx="2160238" cy="830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lang="fr-FR" sz="1050" dirty="0" err="1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r>
              <a:rPr lang="fr-FR" sz="1050" dirty="0">
                <a:solidFill>
                  <a:srgbClr val="2D0F64"/>
                </a:solidFill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,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ua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ute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n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m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ro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udu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tine ex, mollis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incidu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st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Ne dicta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facil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terpretari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ec, sale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ententiae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lang="fr-FR" sz="1050" dirty="0">
                <a:solidFill>
                  <a:srgbClr val="2D0F64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13E565F-09A7-FB0D-9495-5F8C4675EF0D}"/>
              </a:ext>
            </a:extLst>
          </p:cNvPr>
          <p:cNvSpPr txBox="1">
            <a:spLocks/>
          </p:cNvSpPr>
          <p:nvPr/>
        </p:nvSpPr>
        <p:spPr>
          <a:xfrm>
            <a:off x="6320318" y="1104864"/>
            <a:ext cx="2160237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03.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4717019-C110-FBB9-78DC-7A0F36276CF2}"/>
              </a:ext>
            </a:extLst>
          </p:cNvPr>
          <p:cNvCxnSpPr>
            <a:cxnSpLocks/>
          </p:cNvCxnSpPr>
          <p:nvPr/>
        </p:nvCxnSpPr>
        <p:spPr>
          <a:xfrm>
            <a:off x="3078835" y="1067034"/>
            <a:ext cx="0" cy="159022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1038C38-575C-3DB7-8B77-5F32F6DFE22D}"/>
              </a:ext>
            </a:extLst>
          </p:cNvPr>
          <p:cNvCxnSpPr>
            <a:cxnSpLocks/>
          </p:cNvCxnSpPr>
          <p:nvPr/>
        </p:nvCxnSpPr>
        <p:spPr>
          <a:xfrm>
            <a:off x="5959904" y="1067034"/>
            <a:ext cx="0" cy="159022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B39276BF-67F2-2EC3-6892-6A1A9EA32953}"/>
              </a:ext>
            </a:extLst>
          </p:cNvPr>
          <p:cNvSpPr/>
          <p:nvPr/>
        </p:nvSpPr>
        <p:spPr>
          <a:xfrm rot="900000" flipH="1">
            <a:off x="3683520" y="2385324"/>
            <a:ext cx="4254161" cy="3310621"/>
          </a:xfrm>
          <a:custGeom>
            <a:avLst/>
            <a:gdLst>
              <a:gd name="csX0" fmla="*/ 544963 w 4254161"/>
              <a:gd name="csY0" fmla="*/ 1580 h 3310621"/>
              <a:gd name="csX1" fmla="*/ 434809 w 4254161"/>
              <a:gd name="csY1" fmla="*/ 24801 h 3310621"/>
              <a:gd name="csX2" fmla="*/ 15914 w 4254161"/>
              <a:gd name="csY2" fmla="*/ 789923 h 3310621"/>
              <a:gd name="csX3" fmla="*/ 0 w 4254161"/>
              <a:gd name="csY3" fmla="*/ 887289 h 3310621"/>
              <a:gd name="csX4" fmla="*/ 264050 w 4254161"/>
              <a:gd name="csY4" fmla="*/ 2297883 h 3310621"/>
              <a:gd name="csX5" fmla="*/ 385175 w 4254161"/>
              <a:gd name="csY5" fmla="*/ 2330339 h 3310621"/>
              <a:gd name="csX6" fmla="*/ 112824 w 4254161"/>
              <a:gd name="csY6" fmla="*/ 886718 h 3310621"/>
              <a:gd name="csX7" fmla="*/ 439543 w 4254161"/>
              <a:gd name="csY7" fmla="*/ 262597 h 3310621"/>
              <a:gd name="csX8" fmla="*/ 858218 w 4254161"/>
              <a:gd name="csY8" fmla="*/ 2457090 h 3310621"/>
              <a:gd name="csX9" fmla="*/ 986434 w 4254161"/>
              <a:gd name="csY9" fmla="*/ 2491446 h 3310621"/>
              <a:gd name="csX10" fmla="*/ 542099 w 4254161"/>
              <a:gd name="csY10" fmla="*/ 150686 h 3310621"/>
              <a:gd name="csX11" fmla="*/ 4121245 w 4254161"/>
              <a:gd name="csY11" fmla="*/ 2892326 h 3310621"/>
              <a:gd name="csX12" fmla="*/ 2438079 w 4254161"/>
              <a:gd name="csY12" fmla="*/ 2877781 h 3310621"/>
              <a:gd name="csX13" fmla="*/ 2435104 w 4254161"/>
              <a:gd name="csY13" fmla="*/ 2879616 h 3310621"/>
              <a:gd name="csX14" fmla="*/ 2831434 w 4254161"/>
              <a:gd name="csY14" fmla="*/ 2985812 h 3310621"/>
              <a:gd name="csX15" fmla="*/ 4083999 w 4254161"/>
              <a:gd name="csY15" fmla="*/ 2985812 h 3310621"/>
              <a:gd name="csX16" fmla="*/ 3929151 w 4254161"/>
              <a:gd name="csY16" fmla="*/ 3279944 h 3310621"/>
              <a:gd name="csX17" fmla="*/ 4043639 w 4254161"/>
              <a:gd name="csY17" fmla="*/ 3310621 h 3310621"/>
              <a:gd name="csX18" fmla="*/ 4237377 w 4254161"/>
              <a:gd name="csY18" fmla="*/ 2962256 h 3310621"/>
              <a:gd name="csX19" fmla="*/ 4234354 w 4254161"/>
              <a:gd name="csY19" fmla="*/ 2825875 h 3310621"/>
              <a:gd name="csX20" fmla="*/ 578548 w 4254161"/>
              <a:gd name="csY20" fmla="*/ 11397 h 3310621"/>
              <a:gd name="csX21" fmla="*/ 544963 w 4254161"/>
              <a:gd name="csY21" fmla="*/ 1580 h 33106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</a:cxnLst>
            <a:rect l="l" t="t" r="r" b="b"/>
            <a:pathLst>
              <a:path w="4254161" h="3310621">
                <a:moveTo>
                  <a:pt x="544963" y="1580"/>
                </a:moveTo>
                <a:cubicBezTo>
                  <a:pt x="506111" y="-3722"/>
                  <a:pt x="455942" y="4395"/>
                  <a:pt x="434809" y="24801"/>
                </a:cubicBezTo>
                <a:lnTo>
                  <a:pt x="15914" y="789923"/>
                </a:lnTo>
                <a:lnTo>
                  <a:pt x="0" y="887289"/>
                </a:lnTo>
                <a:lnTo>
                  <a:pt x="264050" y="2297883"/>
                </a:lnTo>
                <a:lnTo>
                  <a:pt x="385175" y="2330339"/>
                </a:lnTo>
                <a:lnTo>
                  <a:pt x="112824" y="886718"/>
                </a:lnTo>
                <a:cubicBezTo>
                  <a:pt x="193078" y="666377"/>
                  <a:pt x="325978" y="466626"/>
                  <a:pt x="439543" y="262597"/>
                </a:cubicBezTo>
                <a:lnTo>
                  <a:pt x="858218" y="2457090"/>
                </a:lnTo>
                <a:lnTo>
                  <a:pt x="986434" y="2491446"/>
                </a:lnTo>
                <a:lnTo>
                  <a:pt x="542099" y="150686"/>
                </a:lnTo>
                <a:lnTo>
                  <a:pt x="4121245" y="2892326"/>
                </a:lnTo>
                <a:lnTo>
                  <a:pt x="2438079" y="2877781"/>
                </a:lnTo>
                <a:lnTo>
                  <a:pt x="2435104" y="2879616"/>
                </a:lnTo>
                <a:lnTo>
                  <a:pt x="2831434" y="2985812"/>
                </a:lnTo>
                <a:lnTo>
                  <a:pt x="4083999" y="2985812"/>
                </a:lnTo>
                <a:lnTo>
                  <a:pt x="3929151" y="3279944"/>
                </a:lnTo>
                <a:lnTo>
                  <a:pt x="4043639" y="3310621"/>
                </a:lnTo>
                <a:lnTo>
                  <a:pt x="4237377" y="2962256"/>
                </a:lnTo>
                <a:cubicBezTo>
                  <a:pt x="4256085" y="2919362"/>
                  <a:pt x="4264299" y="2865803"/>
                  <a:pt x="4234354" y="2825875"/>
                </a:cubicBezTo>
                <a:lnTo>
                  <a:pt x="578548" y="11397"/>
                </a:lnTo>
                <a:cubicBezTo>
                  <a:pt x="569606" y="6605"/>
                  <a:pt x="557913" y="3347"/>
                  <a:pt x="544963" y="1580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D9DE489D-986A-B910-FCEC-5259C9D6EB32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1" r="399" b="20389"/>
          <a:stretch>
            <a:fillRect/>
          </a:stretch>
        </p:blipFill>
        <p:spPr>
          <a:xfrm>
            <a:off x="558183" y="2955340"/>
            <a:ext cx="7922375" cy="1419225"/>
          </a:xfrm>
          <a:custGeom>
            <a:avLst/>
            <a:gdLst>
              <a:gd name="csX0" fmla="*/ 93910 w 7922375"/>
              <a:gd name="csY0" fmla="*/ 0 h 1419225"/>
              <a:gd name="csX1" fmla="*/ 7828465 w 7922375"/>
              <a:gd name="csY1" fmla="*/ 0 h 1419225"/>
              <a:gd name="csX2" fmla="*/ 7922375 w 7922375"/>
              <a:gd name="csY2" fmla="*/ 93910 h 1419225"/>
              <a:gd name="csX3" fmla="*/ 7922375 w 7922375"/>
              <a:gd name="csY3" fmla="*/ 1325315 h 1419225"/>
              <a:gd name="csX4" fmla="*/ 7828465 w 7922375"/>
              <a:gd name="csY4" fmla="*/ 1419225 h 1419225"/>
              <a:gd name="csX5" fmla="*/ 93910 w 7922375"/>
              <a:gd name="csY5" fmla="*/ 1419225 h 1419225"/>
              <a:gd name="csX6" fmla="*/ 0 w 7922375"/>
              <a:gd name="csY6" fmla="*/ 1325315 h 1419225"/>
              <a:gd name="csX7" fmla="*/ 0 w 7922375"/>
              <a:gd name="csY7" fmla="*/ 93910 h 1419225"/>
              <a:gd name="csX8" fmla="*/ 93910 w 7922375"/>
              <a:gd name="csY8" fmla="*/ 0 h 14192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7922375" h="1419225">
                <a:moveTo>
                  <a:pt x="93910" y="0"/>
                </a:moveTo>
                <a:lnTo>
                  <a:pt x="7828465" y="0"/>
                </a:lnTo>
                <a:cubicBezTo>
                  <a:pt x="7880330" y="0"/>
                  <a:pt x="7922375" y="42045"/>
                  <a:pt x="7922375" y="93910"/>
                </a:cubicBezTo>
                <a:lnTo>
                  <a:pt x="7922375" y="1325315"/>
                </a:lnTo>
                <a:cubicBezTo>
                  <a:pt x="7922375" y="1377180"/>
                  <a:pt x="7880330" y="1419225"/>
                  <a:pt x="7828465" y="1419225"/>
                </a:cubicBezTo>
                <a:lnTo>
                  <a:pt x="93910" y="1419225"/>
                </a:lnTo>
                <a:cubicBezTo>
                  <a:pt x="42045" y="1419225"/>
                  <a:pt x="0" y="1377180"/>
                  <a:pt x="0" y="1325315"/>
                </a:cubicBezTo>
                <a:lnTo>
                  <a:pt x="0" y="93910"/>
                </a:lnTo>
                <a:cubicBezTo>
                  <a:pt x="0" y="42045"/>
                  <a:pt x="42045" y="0"/>
                  <a:pt x="93910" y="0"/>
                </a:cubicBezTo>
                <a:close/>
              </a:path>
            </a:pathLst>
          </a:cu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33F262B9-B855-4F10-D4A0-DD0D89B31480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5814F1C-9135-23B3-8705-C1B776D1CF3C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5B2AAAC-0EB5-53A3-430B-915ED5821C1F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031AD8A-922D-200C-A211-9FDBCADF1921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74" name="Graphic 2">
                <a:extLst>
                  <a:ext uri="{FF2B5EF4-FFF2-40B4-BE49-F238E27FC236}">
                    <a16:creationId xmlns:a16="http://schemas.microsoft.com/office/drawing/2014/main" id="{71F86037-F61E-87B1-8CD2-0D4FB64D86B8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5CD379CD-AC63-039B-82AF-AE685561A60F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EBF08C5-CDA7-7CC9-73A5-84971B4E2C97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" name="Graphic 2">
                <a:extLst>
                  <a:ext uri="{FF2B5EF4-FFF2-40B4-BE49-F238E27FC236}">
                    <a16:creationId xmlns:a16="http://schemas.microsoft.com/office/drawing/2014/main" id="{7055F88B-49A4-1A15-A9CC-3A261B041DE3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CE2F0358-24F5-28E8-1802-C3BD101A9F65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917F2D39-E262-F894-F2A7-F2A739B1EA00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D5564A3E-8F24-2F3B-32F7-1D5A9F15FB65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EEDA276B-DD72-CAF4-A58C-7F4D33C06879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6" name="Graphic 2">
                <a:extLst>
                  <a:ext uri="{FF2B5EF4-FFF2-40B4-BE49-F238E27FC236}">
                    <a16:creationId xmlns:a16="http://schemas.microsoft.com/office/drawing/2014/main" id="{8BA4A332-D44D-F5ED-E8E8-422CD8872438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636749C0-6A65-22FD-2AE8-82594F1A61CB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BF944A3A-AFC1-8168-9440-B91432D7BABA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AE03F0D9-0368-2075-FEC3-87DC178095AB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12EDD2C1-F5C5-1189-E3B7-54F772385558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26AEF6C-E031-4D11-6EC8-B8314B2ECA20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BBBC99B6-3B0D-AFF7-D821-24C43C3CABEC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79BA635-D396-72A4-1264-8C9D61A8ABD7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6289AF40-E110-985B-7822-33848A05C13C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BCD8BC0-D5C6-BD52-868C-F8A0070246AE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82" name="Graphic 2">
                <a:extLst>
                  <a:ext uri="{FF2B5EF4-FFF2-40B4-BE49-F238E27FC236}">
                    <a16:creationId xmlns:a16="http://schemas.microsoft.com/office/drawing/2014/main" id="{A92B464C-A508-89CC-3B32-CAC7A842A0FD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0416A161-49F6-5D45-735F-DD30C01A5AAD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D4D32CE1-C367-3AD6-363F-8AF3C6FC85C9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763E1DB-C122-DBAD-487A-1DB89B73C84D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90F35E5C-9937-27BA-CCB7-A35AD9E7CD64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85" name="Graphic 2">
                <a:extLst>
                  <a:ext uri="{FF2B5EF4-FFF2-40B4-BE49-F238E27FC236}">
                    <a16:creationId xmlns:a16="http://schemas.microsoft.com/office/drawing/2014/main" id="{51B196E0-3C72-55A1-6B99-F39D66406C3D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5AABA794-0698-5248-17F2-54AC1BA41C6A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208BDE91-6A1B-7580-B363-928C35DE2014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9643886D-DFC0-18DC-C136-7335F1204EB5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4259BE1E-9CB6-3EAE-1140-474E42BF4739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87" name="Freeform: Shape 86">
                  <a:extLst>
                    <a:ext uri="{FF2B5EF4-FFF2-40B4-BE49-F238E27FC236}">
                      <a16:creationId xmlns:a16="http://schemas.microsoft.com/office/drawing/2014/main" id="{21EBFE84-A4C9-AE7A-6551-1CC15D4AD914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96EB76A7-3F44-4131-084E-AB0EEE79CE40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12932E17-1BDB-A54C-7480-AD28366D6BBC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630D53A-0C90-C1D5-D18D-A79B4040D063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22EF957A-59F2-09D0-FADD-62B8E34081F8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AB2189A4-ABB7-B7F8-19C6-D44E3DDE4C9A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8C1748A0-CA6D-4819-5455-2C63F3CFFACE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68063AAC-AE89-D535-4AC6-CDFE7C6A293C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550BC33D-2A59-6D1B-F655-AFADDFCD8565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96" name="Graphic 2">
                  <a:extLst>
                    <a:ext uri="{FF2B5EF4-FFF2-40B4-BE49-F238E27FC236}">
                      <a16:creationId xmlns:a16="http://schemas.microsoft.com/office/drawing/2014/main" id="{7351F473-F595-E346-B507-B2140E5B53C6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27" name="Freeform: Shape 126">
                    <a:extLst>
                      <a:ext uri="{FF2B5EF4-FFF2-40B4-BE49-F238E27FC236}">
                        <a16:creationId xmlns:a16="http://schemas.microsoft.com/office/drawing/2014/main" id="{F4A8254F-27CD-FA39-E6CD-A8419B0CE031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Freeform: Shape 127">
                    <a:extLst>
                      <a:ext uri="{FF2B5EF4-FFF2-40B4-BE49-F238E27FC236}">
                        <a16:creationId xmlns:a16="http://schemas.microsoft.com/office/drawing/2014/main" id="{B4A8635E-857D-22DE-49CB-2DA3D720A93F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3894FF51-FF47-92C2-DF5D-437C5C3EFF4D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98" name="Graphic 2">
                  <a:extLst>
                    <a:ext uri="{FF2B5EF4-FFF2-40B4-BE49-F238E27FC236}">
                      <a16:creationId xmlns:a16="http://schemas.microsoft.com/office/drawing/2014/main" id="{C0028BC6-8969-1CA3-0CB9-C4D2A02436D1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13" name="Freeform: Shape 112">
                    <a:extLst>
                      <a:ext uri="{FF2B5EF4-FFF2-40B4-BE49-F238E27FC236}">
                        <a16:creationId xmlns:a16="http://schemas.microsoft.com/office/drawing/2014/main" id="{2244811F-D3A3-FB1C-790A-69ABD0D953C9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14" name="Graphic 2">
                    <a:extLst>
                      <a:ext uri="{FF2B5EF4-FFF2-40B4-BE49-F238E27FC236}">
                        <a16:creationId xmlns:a16="http://schemas.microsoft.com/office/drawing/2014/main" id="{B4CDD8E4-68EC-3685-BF44-E555F6690BA4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25" name="Freeform: Shape 124">
                      <a:extLst>
                        <a:ext uri="{FF2B5EF4-FFF2-40B4-BE49-F238E27FC236}">
                          <a16:creationId xmlns:a16="http://schemas.microsoft.com/office/drawing/2014/main" id="{F7233469-1394-E7F9-DCDA-02BF466314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6" name="Freeform: Shape 125">
                      <a:extLst>
                        <a:ext uri="{FF2B5EF4-FFF2-40B4-BE49-F238E27FC236}">
                          <a16:creationId xmlns:a16="http://schemas.microsoft.com/office/drawing/2014/main" id="{C3B78365-706B-1749-ADBB-91975AC21D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A4C1F2A0-DA92-6BAD-776B-7A0FB1F34128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: Shape 115">
                    <a:extLst>
                      <a:ext uri="{FF2B5EF4-FFF2-40B4-BE49-F238E27FC236}">
                        <a16:creationId xmlns:a16="http://schemas.microsoft.com/office/drawing/2014/main" id="{9B6301E7-0640-5BB8-236B-6F795AEB6A4C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17" name="Graphic 2">
                    <a:extLst>
                      <a:ext uri="{FF2B5EF4-FFF2-40B4-BE49-F238E27FC236}">
                        <a16:creationId xmlns:a16="http://schemas.microsoft.com/office/drawing/2014/main" id="{DA5010A1-7068-C0F3-D529-8C4306D2A01F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22" name="Freeform: Shape 121">
                      <a:extLst>
                        <a:ext uri="{FF2B5EF4-FFF2-40B4-BE49-F238E27FC236}">
                          <a16:creationId xmlns:a16="http://schemas.microsoft.com/office/drawing/2014/main" id="{98774FE9-1123-5E11-D971-0053005F2F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3" name="Freeform: Shape 122">
                      <a:extLst>
                        <a:ext uri="{FF2B5EF4-FFF2-40B4-BE49-F238E27FC236}">
                          <a16:creationId xmlns:a16="http://schemas.microsoft.com/office/drawing/2014/main" id="{D49747D1-BEB1-90D4-6DDD-88D1908922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4" name="Freeform: Shape 123">
                      <a:extLst>
                        <a:ext uri="{FF2B5EF4-FFF2-40B4-BE49-F238E27FC236}">
                          <a16:creationId xmlns:a16="http://schemas.microsoft.com/office/drawing/2014/main" id="{D0235EDD-D498-D16B-7FA2-3B6DAA85A1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18" name="Freeform: Shape 117">
                    <a:extLst>
                      <a:ext uri="{FF2B5EF4-FFF2-40B4-BE49-F238E27FC236}">
                        <a16:creationId xmlns:a16="http://schemas.microsoft.com/office/drawing/2014/main" id="{DD2259B4-D0ED-7A9C-A090-A4760EB58635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AF033CA9-1648-BDC0-E17D-B3F42F9BCE4C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E2F93188-B78C-F1C1-9B26-DD169ABFFED0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F15EF112-3E78-A804-7335-26EDDD6622E3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81B89E43-2EF7-5093-B4E6-6BC406028C1D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00" name="Graphic 2">
                  <a:extLst>
                    <a:ext uri="{FF2B5EF4-FFF2-40B4-BE49-F238E27FC236}">
                      <a16:creationId xmlns:a16="http://schemas.microsoft.com/office/drawing/2014/main" id="{D1CE8D52-2448-ABD3-4AE0-4B6BAA700CEA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01" name="Freeform: Shape 100">
                    <a:extLst>
                      <a:ext uri="{FF2B5EF4-FFF2-40B4-BE49-F238E27FC236}">
                        <a16:creationId xmlns:a16="http://schemas.microsoft.com/office/drawing/2014/main" id="{C1634B3E-D8D5-F103-6733-7AC3488253C6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Freeform: Shape 101">
                    <a:extLst>
                      <a:ext uri="{FF2B5EF4-FFF2-40B4-BE49-F238E27FC236}">
                        <a16:creationId xmlns:a16="http://schemas.microsoft.com/office/drawing/2014/main" id="{FF2ADFA5-4E84-5ACC-F731-42149A90B4BA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Freeform: Shape 102">
                    <a:extLst>
                      <a:ext uri="{FF2B5EF4-FFF2-40B4-BE49-F238E27FC236}">
                        <a16:creationId xmlns:a16="http://schemas.microsoft.com/office/drawing/2014/main" id="{CF11F06C-C03C-48A4-D515-72FD4018F463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: Shape 103">
                    <a:extLst>
                      <a:ext uri="{FF2B5EF4-FFF2-40B4-BE49-F238E27FC236}">
                        <a16:creationId xmlns:a16="http://schemas.microsoft.com/office/drawing/2014/main" id="{615AB369-A15F-40F5-321D-A91CADB55F5D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68845672-F2EF-1A44-D589-E3F73E606050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718BE850-F65E-BDD5-0415-DFF4760F696C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2C1FD365-5DE3-8BCF-0DB0-F8A297075758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B2A7CAED-762B-8CB9-E61F-99543ABA1855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2C550BEA-79DC-8AEB-3C39-CE6C076FCFA3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0" name="Rectangle 109">
                    <a:extLst>
                      <a:ext uri="{FF2B5EF4-FFF2-40B4-BE49-F238E27FC236}">
                        <a16:creationId xmlns:a16="http://schemas.microsoft.com/office/drawing/2014/main" id="{88187C37-A8E3-6ECE-8EEC-4170655B9DFD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22DF09CF-8617-2A54-E016-1E608248437A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122D8BB9-E2B6-3718-2655-4F154E73D721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44" name="TextBox 143">
            <a:extLst>
              <a:ext uri="{FF2B5EF4-FFF2-40B4-BE49-F238E27FC236}">
                <a16:creationId xmlns:a16="http://schemas.microsoft.com/office/drawing/2014/main" id="{98FB8F3C-F940-6C24-BF3C-1ACBE821BFFD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0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47" name="Graphic 146">
            <a:extLst>
              <a:ext uri="{FF2B5EF4-FFF2-40B4-BE49-F238E27FC236}">
                <a16:creationId xmlns:a16="http://schemas.microsoft.com/office/drawing/2014/main" id="{8DA821D7-937F-27C4-60EA-1D1CF65A5F92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48" name="TextBox 147">
            <a:extLst>
              <a:ext uri="{FF2B5EF4-FFF2-40B4-BE49-F238E27FC236}">
                <a16:creationId xmlns:a16="http://schemas.microsoft.com/office/drawing/2014/main" id="{A63E13A5-C5BC-DD6E-842E-1CFE4D7B7554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8DA9FFF6-454E-96EF-49C4-597A18EA0D58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7C83D6C-B24C-BC2C-8DB7-9BBC346605D0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21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1CE713-9983-EE2A-F508-5AE1F9C9E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F6CB582-2B37-F2FC-4585-ADA6615B88DF}"/>
              </a:ext>
            </a:extLst>
          </p:cNvPr>
          <p:cNvSpPr/>
          <p:nvPr/>
        </p:nvSpPr>
        <p:spPr>
          <a:xfrm flipH="1" flipV="1">
            <a:off x="7400415" y="202362"/>
            <a:ext cx="1743585" cy="2376391"/>
          </a:xfrm>
          <a:custGeom>
            <a:avLst/>
            <a:gdLst>
              <a:gd name="csX0" fmla="*/ 0 w 1743585"/>
              <a:gd name="csY0" fmla="*/ 2376391 h 2376391"/>
              <a:gd name="csX1" fmla="*/ 0 w 1743585"/>
              <a:gd name="csY1" fmla="*/ 2258818 h 2376391"/>
              <a:gd name="csX2" fmla="*/ 1094720 w 1743585"/>
              <a:gd name="csY2" fmla="*/ 2272809 h 2376391"/>
              <a:gd name="csX3" fmla="*/ 1165378 w 1743585"/>
              <a:gd name="csY3" fmla="*/ 2237349 h 2376391"/>
              <a:gd name="csX4" fmla="*/ 1549842 w 1743585"/>
              <a:gd name="csY4" fmla="*/ 1507063 h 2376391"/>
              <a:gd name="csX5" fmla="*/ 0 w 1743585"/>
              <a:gd name="csY5" fmla="*/ 1507063 h 2376391"/>
              <a:gd name="csX6" fmla="*/ 0 w 1743585"/>
              <a:gd name="csY6" fmla="*/ 1386862 h 2376391"/>
              <a:gd name="csX7" fmla="*/ 1592250 w 1743585"/>
              <a:gd name="csY7" fmla="*/ 1400621 h 2376391"/>
              <a:gd name="csX8" fmla="*/ 0 w 1743585"/>
              <a:gd name="csY8" fmla="*/ 180951 h 2376391"/>
              <a:gd name="csX9" fmla="*/ 0 w 1743585"/>
              <a:gd name="csY9" fmla="*/ 0 h 2376391"/>
              <a:gd name="csX10" fmla="*/ 1721032 w 1743585"/>
              <a:gd name="csY10" fmla="*/ 1324963 h 2376391"/>
              <a:gd name="csX11" fmla="*/ 1724474 w 1743585"/>
              <a:gd name="csY11" fmla="*/ 1480242 h 2376391"/>
              <a:gd name="csX12" fmla="*/ 1231296 w 1743585"/>
              <a:gd name="csY12" fmla="*/ 2367041 h 237639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743585" h="2376391">
                <a:moveTo>
                  <a:pt x="0" y="2376391"/>
                </a:moveTo>
                <a:lnTo>
                  <a:pt x="0" y="2258818"/>
                </a:lnTo>
                <a:lnTo>
                  <a:pt x="1094720" y="2272809"/>
                </a:lnTo>
                <a:lnTo>
                  <a:pt x="1165378" y="2237349"/>
                </a:lnTo>
                <a:lnTo>
                  <a:pt x="1549842" y="1507063"/>
                </a:lnTo>
                <a:lnTo>
                  <a:pt x="0" y="1507063"/>
                </a:lnTo>
                <a:lnTo>
                  <a:pt x="0" y="1386862"/>
                </a:lnTo>
                <a:lnTo>
                  <a:pt x="1592250" y="1400621"/>
                </a:lnTo>
                <a:lnTo>
                  <a:pt x="0" y="180951"/>
                </a:lnTo>
                <a:lnTo>
                  <a:pt x="0" y="0"/>
                </a:lnTo>
                <a:lnTo>
                  <a:pt x="1721032" y="1324963"/>
                </a:lnTo>
                <a:cubicBezTo>
                  <a:pt x="1755127" y="1370423"/>
                  <a:pt x="1745775" y="1431405"/>
                  <a:pt x="1724474" y="1480242"/>
                </a:cubicBezTo>
                <a:lnTo>
                  <a:pt x="1231296" y="236704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20000"/>
            </a:schemeClr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4D6908D-8B8B-A162-4D2B-571A955C2CFB}"/>
              </a:ext>
            </a:extLst>
          </p:cNvPr>
          <p:cNvSpPr>
            <a:spLocks/>
          </p:cNvSpPr>
          <p:nvPr/>
        </p:nvSpPr>
        <p:spPr>
          <a:xfrm>
            <a:off x="5469353" y="555526"/>
            <a:ext cx="2951087" cy="3547896"/>
          </a:xfrm>
          <a:prstGeom prst="roundRect">
            <a:avLst>
              <a:gd name="adj" fmla="val 4075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FE9BDF-F66C-612C-161C-3FCB47A0D41F}"/>
              </a:ext>
            </a:extLst>
          </p:cNvPr>
          <p:cNvSpPr txBox="1">
            <a:spLocks/>
          </p:cNvSpPr>
          <p:nvPr/>
        </p:nvSpPr>
        <p:spPr>
          <a:xfrm>
            <a:off x="539552" y="508050"/>
            <a:ext cx="381642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Titre de la slide</a:t>
            </a:r>
          </a:p>
        </p:txBody>
      </p:sp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F47E12B7-7230-AC74-00DF-507707455D09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423" y="2051797"/>
            <a:ext cx="345362" cy="345360"/>
          </a:xfrm>
          <a:prstGeom prst="rect">
            <a:avLst/>
          </a:prstGeom>
        </p:spPr>
      </p:pic>
      <p:pic>
        <p:nvPicPr>
          <p:cNvPr id="4" name="Graphic 3" hidden="1">
            <a:extLst>
              <a:ext uri="{FF2B5EF4-FFF2-40B4-BE49-F238E27FC236}">
                <a16:creationId xmlns:a16="http://schemas.microsoft.com/office/drawing/2014/main" id="{BE4A20DA-B0BC-25F0-984A-7742FE55577B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3848" y="2051797"/>
            <a:ext cx="345362" cy="3453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5296CE1-1E17-D825-7525-35C9850BB443}"/>
              </a:ext>
            </a:extLst>
          </p:cNvPr>
          <p:cNvSpPr txBox="1">
            <a:spLocks/>
          </p:cNvSpPr>
          <p:nvPr/>
        </p:nvSpPr>
        <p:spPr>
          <a:xfrm>
            <a:off x="5792824" y="838025"/>
            <a:ext cx="2068107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RENFORCER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 LA 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CULTURE SCIENTIFIQUE 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DES LE PLUS JEUNE </a:t>
            </a:r>
            <a:r>
              <a:rPr lang="fr-FR" sz="1600" dirty="0">
                <a:solidFill>
                  <a:schemeClr val="accent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A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G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5E2DF5-16D4-8C98-4482-E75C301774E1}"/>
              </a:ext>
            </a:extLst>
          </p:cNvPr>
          <p:cNvSpPr txBox="1">
            <a:spLocks/>
          </p:cNvSpPr>
          <p:nvPr/>
        </p:nvSpPr>
        <p:spPr>
          <a:xfrm>
            <a:off x="5792824" y="2085909"/>
            <a:ext cx="2068107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DECONSTRUIRE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 LES 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rPr>
              <a:t>STEREOTYPES DE GEN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184A69-5D92-A69C-3D3E-8CEA70920168}"/>
              </a:ext>
            </a:extLst>
          </p:cNvPr>
          <p:cNvSpPr txBox="1">
            <a:spLocks/>
          </p:cNvSpPr>
          <p:nvPr/>
        </p:nvSpPr>
        <p:spPr>
          <a:xfrm>
            <a:off x="5792824" y="1677410"/>
            <a:ext cx="499426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E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7D280D-F8B2-329F-4660-785428081C50}"/>
              </a:ext>
            </a:extLst>
          </p:cNvPr>
          <p:cNvSpPr txBox="1">
            <a:spLocks/>
          </p:cNvSpPr>
          <p:nvPr/>
        </p:nvSpPr>
        <p:spPr>
          <a:xfrm>
            <a:off x="3418033" y="2749274"/>
            <a:ext cx="1689192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</a:t>
            </a:r>
            <a:r>
              <a:rPr kumimoji="0" lang="fr-FR" sz="4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/</a:t>
            </a:r>
            <a:r>
              <a:rPr kumimoji="0" lang="fr-FR" sz="40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5BA29B-6772-DDD4-1D94-0DC9AB6C7FD5}"/>
              </a:ext>
            </a:extLst>
          </p:cNvPr>
          <p:cNvSpPr txBox="1">
            <a:spLocks/>
          </p:cNvSpPr>
          <p:nvPr/>
        </p:nvSpPr>
        <p:spPr>
          <a:xfrm>
            <a:off x="1021313" y="2749274"/>
            <a:ext cx="1792400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0" i="1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29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4000" b="0" i="0" u="none" strike="noStrike" kern="1200" cap="none" spc="0" normalizeH="0" baseline="0" noProof="0" dirty="0">
              <a:ln>
                <a:noFill/>
              </a:ln>
              <a:solidFill>
                <a:srgbClr val="7850DC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184F43-B9C9-99DF-F77A-0E469039CF7B}"/>
              </a:ext>
            </a:extLst>
          </p:cNvPr>
          <p:cNvSpPr txBox="1">
            <a:spLocks/>
          </p:cNvSpPr>
          <p:nvPr/>
        </p:nvSpPr>
        <p:spPr>
          <a:xfrm>
            <a:off x="539552" y="3352240"/>
            <a:ext cx="2003410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es jeunes diplômés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’école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’ingénieurs sont des fem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160506-CFDF-7EFC-112E-F69B37D2642D}"/>
              </a:ext>
            </a:extLst>
          </p:cNvPr>
          <p:cNvSpPr txBox="1">
            <a:spLocks/>
          </p:cNvSpPr>
          <p:nvPr/>
        </p:nvSpPr>
        <p:spPr>
          <a:xfrm>
            <a:off x="2904342" y="3352240"/>
            <a:ext cx="1995964" cy="6232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eulement des filles choisissent 2 spécialités en sciences en terminal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(contre 51% des garçons)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681647-D9E1-1CEE-F4C7-67F291C6757F}"/>
              </a:ext>
            </a:extLst>
          </p:cNvPr>
          <p:cNvSpPr txBox="1">
            <a:spLocks/>
          </p:cNvSpPr>
          <p:nvPr/>
        </p:nvSpPr>
        <p:spPr>
          <a:xfrm>
            <a:off x="546859" y="1824693"/>
            <a:ext cx="4609093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UNE IMAGE ÉLITISTE ET MASCULINE </a:t>
            </a:r>
            <a:br>
              <a:rPr kumimoji="0" lang="fr-FR" sz="24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</a:b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DE LA FORMATION DES INGÉNIEURS</a:t>
            </a:r>
            <a:endParaRPr kumimoji="0" lang="fr-FR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275C46F-4189-C422-4DF3-98BDEE79D0A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6859" y="1360655"/>
            <a:ext cx="345362" cy="345360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4D0BC6E0-AC5A-5E16-D73C-183D4A9ECDDE}"/>
              </a:ext>
            </a:extLst>
          </p:cNvPr>
          <p:cNvGrpSpPr/>
          <p:nvPr/>
        </p:nvGrpSpPr>
        <p:grpSpPr>
          <a:xfrm>
            <a:off x="2912823" y="2889970"/>
            <a:ext cx="367882" cy="334160"/>
            <a:chOff x="2912823" y="2872254"/>
            <a:chExt cx="367882" cy="334160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6773304-F9BB-EF6E-7E00-0DFE0BCE82EB}"/>
                </a:ext>
              </a:extLst>
            </p:cNvPr>
            <p:cNvGrpSpPr/>
            <p:nvPr/>
          </p:nvGrpSpPr>
          <p:grpSpPr>
            <a:xfrm>
              <a:off x="2912823" y="2872254"/>
              <a:ext cx="367882" cy="67825"/>
              <a:chOff x="2912823" y="2900982"/>
              <a:chExt cx="367882" cy="67825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E3C877AD-73DD-8860-9B29-696ACAA6A6A1}"/>
                  </a:ext>
                </a:extLst>
              </p:cNvPr>
              <p:cNvSpPr/>
              <p:nvPr/>
            </p:nvSpPr>
            <p:spPr>
              <a:xfrm>
                <a:off x="2912823" y="2900982"/>
                <a:ext cx="67825" cy="67825"/>
              </a:xfrm>
              <a:prstGeom prst="ellipse">
                <a:avLst/>
              </a:prstGeom>
              <a:gradFill>
                <a:gsLst>
                  <a:gs pos="0">
                    <a:schemeClr val="accent3">
                      <a:lumMod val="75000"/>
                    </a:schemeClr>
                  </a:gs>
                  <a:gs pos="100000">
                    <a:schemeClr val="accent3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0F43040-6898-8509-400F-B150B93F7DAD}"/>
                  </a:ext>
                </a:extLst>
              </p:cNvPr>
              <p:cNvSpPr/>
              <p:nvPr/>
            </p:nvSpPr>
            <p:spPr>
              <a:xfrm>
                <a:off x="3062852" y="2900982"/>
                <a:ext cx="67825" cy="67825"/>
              </a:xfrm>
              <a:prstGeom prst="ellipse">
                <a:avLst/>
              </a:prstGeom>
              <a:gradFill>
                <a:gsLst>
                  <a:gs pos="0">
                    <a:schemeClr val="accent3">
                      <a:lumMod val="75000"/>
                    </a:schemeClr>
                  </a:gs>
                  <a:gs pos="100000">
                    <a:schemeClr val="accent3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3C286EE-7BAE-DC6B-651C-1FC259893F2B}"/>
                  </a:ext>
                </a:extLst>
              </p:cNvPr>
              <p:cNvSpPr/>
              <p:nvPr/>
            </p:nvSpPr>
            <p:spPr>
              <a:xfrm>
                <a:off x="3212880" y="2900982"/>
                <a:ext cx="67825" cy="67825"/>
              </a:xfrm>
              <a:prstGeom prst="ellipse">
                <a:avLst/>
              </a:prstGeom>
              <a:gradFill>
                <a:gsLst>
                  <a:gs pos="0">
                    <a:schemeClr val="accent3">
                      <a:lumMod val="75000"/>
                    </a:schemeClr>
                  </a:gs>
                  <a:gs pos="100000">
                    <a:schemeClr val="accent3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F25C608-EABF-5767-AE38-60DC191526F9}"/>
                </a:ext>
              </a:extLst>
            </p:cNvPr>
            <p:cNvGrpSpPr/>
            <p:nvPr/>
          </p:nvGrpSpPr>
          <p:grpSpPr>
            <a:xfrm>
              <a:off x="2912823" y="3005422"/>
              <a:ext cx="367882" cy="67825"/>
              <a:chOff x="2912823" y="3024488"/>
              <a:chExt cx="367882" cy="67825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5E35813-2DE9-C8C2-604F-769BD39D8274}"/>
                  </a:ext>
                </a:extLst>
              </p:cNvPr>
              <p:cNvSpPr/>
              <p:nvPr/>
            </p:nvSpPr>
            <p:spPr>
              <a:xfrm>
                <a:off x="2912823" y="3024488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D678637-C918-FD45-8966-13640CABADA1}"/>
                  </a:ext>
                </a:extLst>
              </p:cNvPr>
              <p:cNvSpPr/>
              <p:nvPr/>
            </p:nvSpPr>
            <p:spPr>
              <a:xfrm>
                <a:off x="3062852" y="3024488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34E293E4-216B-CC1B-0D29-A1EF2F011AA4}"/>
                  </a:ext>
                </a:extLst>
              </p:cNvPr>
              <p:cNvSpPr/>
              <p:nvPr/>
            </p:nvSpPr>
            <p:spPr>
              <a:xfrm>
                <a:off x="3212880" y="3024488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C6D32B3-8B2C-6D2E-2237-F2264E574583}"/>
                </a:ext>
              </a:extLst>
            </p:cNvPr>
            <p:cNvGrpSpPr/>
            <p:nvPr/>
          </p:nvGrpSpPr>
          <p:grpSpPr>
            <a:xfrm>
              <a:off x="2912823" y="3138589"/>
              <a:ext cx="367882" cy="67825"/>
              <a:chOff x="2912823" y="3145294"/>
              <a:chExt cx="367882" cy="67825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C0048E23-F9B2-9A2B-AF8D-25418AE1E4F0}"/>
                  </a:ext>
                </a:extLst>
              </p:cNvPr>
              <p:cNvSpPr/>
              <p:nvPr/>
            </p:nvSpPr>
            <p:spPr>
              <a:xfrm>
                <a:off x="2912823" y="3145294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A1CD63-DA1C-5A6C-3D2A-F2CD37AC8D51}"/>
                  </a:ext>
                </a:extLst>
              </p:cNvPr>
              <p:cNvSpPr/>
              <p:nvPr/>
            </p:nvSpPr>
            <p:spPr>
              <a:xfrm>
                <a:off x="3062852" y="3145294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9AAAC41-F0F6-5FB9-0261-5A50951E00E7}"/>
                  </a:ext>
                </a:extLst>
              </p:cNvPr>
              <p:cNvSpPr/>
              <p:nvPr/>
            </p:nvSpPr>
            <p:spPr>
              <a:xfrm>
                <a:off x="3212880" y="3145294"/>
                <a:ext cx="67825" cy="67825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946371C-0407-82AB-D54B-5151BB70D1D4}"/>
              </a:ext>
            </a:extLst>
          </p:cNvPr>
          <p:cNvGrpSpPr/>
          <p:nvPr/>
        </p:nvGrpSpPr>
        <p:grpSpPr>
          <a:xfrm>
            <a:off x="546859" y="2880355"/>
            <a:ext cx="353362" cy="353390"/>
            <a:chOff x="716460" y="3134919"/>
            <a:chExt cx="397078" cy="39711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27AA1F4-59FD-348A-41D7-CE8F509FDF98}"/>
                </a:ext>
              </a:extLst>
            </p:cNvPr>
            <p:cNvSpPr/>
            <p:nvPr/>
          </p:nvSpPr>
          <p:spPr>
            <a:xfrm>
              <a:off x="915021" y="3134919"/>
              <a:ext cx="198517" cy="247906"/>
            </a:xfrm>
            <a:custGeom>
              <a:avLst/>
              <a:gdLst>
                <a:gd name="csX0" fmla="*/ 0 w 1142047"/>
                <a:gd name="csY0" fmla="*/ 95 h 1426178"/>
                <a:gd name="csX1" fmla="*/ 1142048 w 1142047"/>
                <a:gd name="csY1" fmla="*/ 1142143 h 1426178"/>
                <a:gd name="csX2" fmla="*/ 1106138 w 1142047"/>
                <a:gd name="csY2" fmla="*/ 1426178 h 1426178"/>
                <a:gd name="csX3" fmla="*/ 829628 w 1142047"/>
                <a:gd name="csY3" fmla="*/ 1355217 h 1426178"/>
                <a:gd name="csX4" fmla="*/ 212979 w 1142047"/>
                <a:gd name="csY4" fmla="*/ 312515 h 1426178"/>
                <a:gd name="csX5" fmla="*/ 0 w 1142047"/>
                <a:gd name="csY5" fmla="*/ 285560 h 1426178"/>
                <a:gd name="csX6" fmla="*/ 0 w 1142047"/>
                <a:gd name="csY6" fmla="*/ 0 h 142617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1142047" h="1426178">
                  <a:moveTo>
                    <a:pt x="0" y="95"/>
                  </a:moveTo>
                  <a:cubicBezTo>
                    <a:pt x="630746" y="95"/>
                    <a:pt x="1142048" y="511397"/>
                    <a:pt x="1142048" y="1142143"/>
                  </a:cubicBezTo>
                  <a:cubicBezTo>
                    <a:pt x="1142048" y="1237964"/>
                    <a:pt x="1129951" y="1333405"/>
                    <a:pt x="1106138" y="1426178"/>
                  </a:cubicBezTo>
                  <a:lnTo>
                    <a:pt x="829628" y="1355217"/>
                  </a:lnTo>
                  <a:cubicBezTo>
                    <a:pt x="947261" y="897064"/>
                    <a:pt x="671227" y="430244"/>
                    <a:pt x="212979" y="312515"/>
                  </a:cubicBezTo>
                  <a:cubicBezTo>
                    <a:pt x="143351" y="294608"/>
                    <a:pt x="71818" y="285560"/>
                    <a:pt x="0" y="28556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91000">
                  <a:schemeClr val="accent2">
                    <a:lumMod val="75000"/>
                  </a:schemeClr>
                </a:gs>
              </a:gsLst>
              <a:lin ang="16200000" scaled="1"/>
              <a:tileRect/>
            </a:gradFill>
            <a:ln w="3175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89C32E3-532C-B1E3-ED1F-751610E5D1E3}"/>
                </a:ext>
              </a:extLst>
            </p:cNvPr>
            <p:cNvSpPr/>
            <p:nvPr/>
          </p:nvSpPr>
          <p:spPr>
            <a:xfrm>
              <a:off x="716460" y="3134952"/>
              <a:ext cx="390853" cy="397077"/>
            </a:xfrm>
            <a:custGeom>
              <a:avLst/>
              <a:gdLst>
                <a:gd name="csX0" fmla="*/ 2248531 w 2248531"/>
                <a:gd name="csY0" fmla="*/ 1425988 h 2284345"/>
                <a:gd name="csX1" fmla="*/ 858357 w 2248531"/>
                <a:gd name="csY1" fmla="*/ 2248186 h 2284345"/>
                <a:gd name="csX2" fmla="*/ 36159 w 2248531"/>
                <a:gd name="csY2" fmla="*/ 858012 h 2284345"/>
                <a:gd name="csX3" fmla="*/ 1142393 w 2248531"/>
                <a:gd name="csY3" fmla="*/ 0 h 2284345"/>
                <a:gd name="csX4" fmla="*/ 1142393 w 2248531"/>
                <a:gd name="csY4" fmla="*/ 285560 h 2284345"/>
                <a:gd name="csX5" fmla="*/ 285810 w 2248531"/>
                <a:gd name="csY5" fmla="*/ 1142143 h 2284345"/>
                <a:gd name="csX6" fmla="*/ 1142393 w 2248531"/>
                <a:gd name="csY6" fmla="*/ 1998726 h 2284345"/>
                <a:gd name="csX7" fmla="*/ 1972020 w 2248531"/>
                <a:gd name="csY7" fmla="*/ 1355217 h 2284345"/>
                <a:gd name="csX8" fmla="*/ 2248531 w 2248531"/>
                <a:gd name="csY8" fmla="*/ 1426178 h 22843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248531" h="2284345">
                  <a:moveTo>
                    <a:pt x="2248531" y="1425988"/>
                  </a:moveTo>
                  <a:cubicBezTo>
                    <a:pt x="2091654" y="2036921"/>
                    <a:pt x="1469291" y="2405063"/>
                    <a:pt x="858357" y="2248186"/>
                  </a:cubicBezTo>
                  <a:cubicBezTo>
                    <a:pt x="247424" y="2091309"/>
                    <a:pt x="-120718" y="1468946"/>
                    <a:pt x="36159" y="858012"/>
                  </a:cubicBezTo>
                  <a:cubicBezTo>
                    <a:pt x="165794" y="352997"/>
                    <a:pt x="620994" y="0"/>
                    <a:pt x="1142393" y="0"/>
                  </a:cubicBezTo>
                  <a:lnTo>
                    <a:pt x="1142393" y="285560"/>
                  </a:lnTo>
                  <a:cubicBezTo>
                    <a:pt x="669286" y="285560"/>
                    <a:pt x="285810" y="669036"/>
                    <a:pt x="285810" y="1142143"/>
                  </a:cubicBezTo>
                  <a:cubicBezTo>
                    <a:pt x="285810" y="1615250"/>
                    <a:pt x="669286" y="1998726"/>
                    <a:pt x="1142393" y="1998726"/>
                  </a:cubicBezTo>
                  <a:cubicBezTo>
                    <a:pt x="1533394" y="1998726"/>
                    <a:pt x="1874770" y="1733931"/>
                    <a:pt x="1972020" y="1355217"/>
                  </a:cubicBezTo>
                  <a:lnTo>
                    <a:pt x="2248531" y="14261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3175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5D88443-EE56-8854-2E5A-8BA09EC276A8}"/>
              </a:ext>
            </a:extLst>
          </p:cNvPr>
          <p:cNvCxnSpPr>
            <a:cxnSpLocks/>
          </p:cNvCxnSpPr>
          <p:nvPr/>
        </p:nvCxnSpPr>
        <p:spPr>
          <a:xfrm>
            <a:off x="2633145" y="2773969"/>
            <a:ext cx="0" cy="1201518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3D9FEFD-A052-88ED-9738-89F21476AD7E}"/>
              </a:ext>
            </a:extLst>
          </p:cNvPr>
          <p:cNvCxnSpPr>
            <a:cxnSpLocks/>
          </p:cNvCxnSpPr>
          <p:nvPr/>
        </p:nvCxnSpPr>
        <p:spPr>
          <a:xfrm>
            <a:off x="6124567" y="1831298"/>
            <a:ext cx="1933684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0DF2AB5E-88EC-2C18-AA77-630E385C9688}"/>
              </a:ext>
            </a:extLst>
          </p:cNvPr>
          <p:cNvSpPr/>
          <p:nvPr/>
        </p:nvSpPr>
        <p:spPr>
          <a:xfrm flipH="1">
            <a:off x="6458341" y="2344046"/>
            <a:ext cx="2116612" cy="1759376"/>
          </a:xfrm>
          <a:custGeom>
            <a:avLst/>
            <a:gdLst>
              <a:gd name="csX0" fmla="*/ 250677 w 2116612"/>
              <a:gd name="csY0" fmla="*/ 353 h 1759376"/>
              <a:gd name="csX1" fmla="*/ 216335 w 2116612"/>
              <a:gd name="csY1" fmla="*/ 12340 h 1759376"/>
              <a:gd name="csX2" fmla="*/ 7918 w 2116612"/>
              <a:gd name="csY2" fmla="*/ 393018 h 1759376"/>
              <a:gd name="csX3" fmla="*/ 0 w 2116612"/>
              <a:gd name="csY3" fmla="*/ 441461 h 1759376"/>
              <a:gd name="csX4" fmla="*/ 246701 w 2116612"/>
              <a:gd name="csY4" fmla="*/ 1759376 h 1759376"/>
              <a:gd name="csX5" fmla="*/ 302619 w 2116612"/>
              <a:gd name="csY5" fmla="*/ 1759376 h 1759376"/>
              <a:gd name="csX6" fmla="*/ 56134 w 2116612"/>
              <a:gd name="csY6" fmla="*/ 441177 h 1759376"/>
              <a:gd name="csX7" fmla="*/ 218690 w 2116612"/>
              <a:gd name="csY7" fmla="*/ 130652 h 1759376"/>
              <a:gd name="csX8" fmla="*/ 529425 w 2116612"/>
              <a:gd name="csY8" fmla="*/ 1759376 h 1759376"/>
              <a:gd name="csX9" fmla="*/ 589458 w 2116612"/>
              <a:gd name="csY9" fmla="*/ 1759376 h 1759376"/>
              <a:gd name="csX10" fmla="*/ 269716 w 2116612"/>
              <a:gd name="csY10" fmla="*/ 74972 h 1759376"/>
              <a:gd name="csX11" fmla="*/ 2050482 w 2116612"/>
              <a:gd name="csY11" fmla="*/ 1439045 h 1759376"/>
              <a:gd name="csX12" fmla="*/ 1213040 w 2116612"/>
              <a:gd name="csY12" fmla="*/ 1431809 h 1759376"/>
              <a:gd name="csX13" fmla="*/ 681860 w 2116612"/>
              <a:gd name="csY13" fmla="*/ 1759376 h 1759376"/>
              <a:gd name="csX14" fmla="*/ 782510 w 2116612"/>
              <a:gd name="csY14" fmla="*/ 1759376 h 1759376"/>
              <a:gd name="csX15" fmla="*/ 837403 w 2116612"/>
              <a:gd name="csY15" fmla="*/ 1724203 h 1759376"/>
              <a:gd name="csX16" fmla="*/ 1083120 w 2116612"/>
              <a:gd name="csY16" fmla="*/ 1570952 h 1759376"/>
              <a:gd name="csX17" fmla="*/ 1132216 w 2116612"/>
              <a:gd name="csY17" fmla="*/ 1550576 h 1759376"/>
              <a:gd name="csX18" fmla="*/ 1017999 w 2116612"/>
              <a:gd name="csY18" fmla="*/ 1759376 h 1759376"/>
              <a:gd name="csX19" fmla="*/ 1084230 w 2116612"/>
              <a:gd name="csY19" fmla="*/ 1759376 h 1759376"/>
              <a:gd name="csX20" fmla="*/ 1225016 w 2116612"/>
              <a:gd name="csY20" fmla="*/ 1485559 h 1759376"/>
              <a:gd name="csX21" fmla="*/ 2031950 w 2116612"/>
              <a:gd name="csY21" fmla="*/ 1485559 h 1759376"/>
              <a:gd name="csX22" fmla="*/ 1887797 w 2116612"/>
              <a:gd name="csY22" fmla="*/ 1759376 h 1759376"/>
              <a:gd name="csX23" fmla="*/ 1949465 w 2116612"/>
              <a:gd name="csY23" fmla="*/ 1759376 h 1759376"/>
              <a:gd name="csX24" fmla="*/ 2108261 w 2116612"/>
              <a:gd name="csY24" fmla="*/ 1473838 h 1759376"/>
              <a:gd name="csX25" fmla="*/ 2106757 w 2116612"/>
              <a:gd name="csY25" fmla="*/ 1405984 h 1759376"/>
              <a:gd name="csX26" fmla="*/ 287850 w 2116612"/>
              <a:gd name="csY26" fmla="*/ 5670 h 1759376"/>
              <a:gd name="csX27" fmla="*/ 250677 w 2116612"/>
              <a:gd name="csY27" fmla="*/ 353 h 17593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</a:cxnLst>
            <a:rect l="l" t="t" r="r" b="b"/>
            <a:pathLst>
              <a:path w="2116612" h="1759376">
                <a:moveTo>
                  <a:pt x="250677" y="353"/>
                </a:moveTo>
                <a:cubicBezTo>
                  <a:pt x="236775" y="1520"/>
                  <a:pt x="223345" y="5571"/>
                  <a:pt x="216335" y="12340"/>
                </a:cubicBezTo>
                <a:lnTo>
                  <a:pt x="7918" y="393018"/>
                </a:lnTo>
                <a:lnTo>
                  <a:pt x="0" y="441461"/>
                </a:lnTo>
                <a:lnTo>
                  <a:pt x="246701" y="1759376"/>
                </a:lnTo>
                <a:lnTo>
                  <a:pt x="302619" y="1759376"/>
                </a:lnTo>
                <a:lnTo>
                  <a:pt x="56134" y="441177"/>
                </a:lnTo>
                <a:cubicBezTo>
                  <a:pt x="96064" y="331549"/>
                  <a:pt x="162187" y="232165"/>
                  <a:pt x="218690" y="130652"/>
                </a:cubicBezTo>
                <a:lnTo>
                  <a:pt x="529425" y="1759376"/>
                </a:lnTo>
                <a:lnTo>
                  <a:pt x="589458" y="1759376"/>
                </a:lnTo>
                <a:lnTo>
                  <a:pt x="269716" y="74972"/>
                </a:lnTo>
                <a:lnTo>
                  <a:pt x="2050482" y="1439045"/>
                </a:lnTo>
                <a:lnTo>
                  <a:pt x="1213040" y="1431809"/>
                </a:lnTo>
                <a:lnTo>
                  <a:pt x="681860" y="1759376"/>
                </a:lnTo>
                <a:lnTo>
                  <a:pt x="782510" y="1759376"/>
                </a:lnTo>
                <a:lnTo>
                  <a:pt x="837403" y="1724203"/>
                </a:lnTo>
                <a:cubicBezTo>
                  <a:pt x="918762" y="1671130"/>
                  <a:pt x="999841" y="1617763"/>
                  <a:pt x="1083120" y="1570952"/>
                </a:cubicBezTo>
                <a:cubicBezTo>
                  <a:pt x="1092031" y="1565957"/>
                  <a:pt x="1125746" y="1544304"/>
                  <a:pt x="1132216" y="1550576"/>
                </a:cubicBezTo>
                <a:lnTo>
                  <a:pt x="1017999" y="1759376"/>
                </a:lnTo>
                <a:lnTo>
                  <a:pt x="1084230" y="1759376"/>
                </a:lnTo>
                <a:lnTo>
                  <a:pt x="1225016" y="1485559"/>
                </a:lnTo>
                <a:lnTo>
                  <a:pt x="2031950" y="1485559"/>
                </a:lnTo>
                <a:lnTo>
                  <a:pt x="1887797" y="1759376"/>
                </a:lnTo>
                <a:lnTo>
                  <a:pt x="1949465" y="1759376"/>
                </a:lnTo>
                <a:lnTo>
                  <a:pt x="2108261" y="1473838"/>
                </a:lnTo>
                <a:cubicBezTo>
                  <a:pt x="2117570" y="1452497"/>
                  <a:pt x="2121656" y="1425849"/>
                  <a:pt x="2106757" y="1405984"/>
                </a:cubicBezTo>
                <a:lnTo>
                  <a:pt x="287850" y="5670"/>
                </a:lnTo>
                <a:cubicBezTo>
                  <a:pt x="278953" y="903"/>
                  <a:pt x="264579" y="-814"/>
                  <a:pt x="250677" y="353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078EDC-6ED7-6000-9BF4-FF4349E16368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A0D4470-EBEA-6C06-A4F6-23B6B4AF2C20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A69D9DE-0A11-9E82-8FA6-25FD5D1C3952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3F76D6C-D4FF-68B0-1AD5-084D4FD813A2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5" name="Graphic 2">
                <a:extLst>
                  <a:ext uri="{FF2B5EF4-FFF2-40B4-BE49-F238E27FC236}">
                    <a16:creationId xmlns:a16="http://schemas.microsoft.com/office/drawing/2014/main" id="{031CDE7E-7251-4579-4373-DAF30F4A2DF8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86" name="Freeform: Shape 185">
                  <a:extLst>
                    <a:ext uri="{FF2B5EF4-FFF2-40B4-BE49-F238E27FC236}">
                      <a16:creationId xmlns:a16="http://schemas.microsoft.com/office/drawing/2014/main" id="{F618D032-AD08-C474-345F-D086269572B8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: Shape 186">
                  <a:extLst>
                    <a:ext uri="{FF2B5EF4-FFF2-40B4-BE49-F238E27FC236}">
                      <a16:creationId xmlns:a16="http://schemas.microsoft.com/office/drawing/2014/main" id="{CA532ADF-E984-3199-DE7F-D8CD1585AB8B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aphic 2">
                <a:extLst>
                  <a:ext uri="{FF2B5EF4-FFF2-40B4-BE49-F238E27FC236}">
                    <a16:creationId xmlns:a16="http://schemas.microsoft.com/office/drawing/2014/main" id="{766BCA4B-892A-BAF6-FB17-CDC91D982BD0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82" name="Freeform: Shape 181">
                  <a:extLst>
                    <a:ext uri="{FF2B5EF4-FFF2-40B4-BE49-F238E27FC236}">
                      <a16:creationId xmlns:a16="http://schemas.microsoft.com/office/drawing/2014/main" id="{F3D69715-9267-3948-0C00-A4E12A06048C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: Shape 182">
                  <a:extLst>
                    <a:ext uri="{FF2B5EF4-FFF2-40B4-BE49-F238E27FC236}">
                      <a16:creationId xmlns:a16="http://schemas.microsoft.com/office/drawing/2014/main" id="{4497B757-BEE1-BF55-4777-A044698948CF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: Shape 183">
                  <a:extLst>
                    <a:ext uri="{FF2B5EF4-FFF2-40B4-BE49-F238E27FC236}">
                      <a16:creationId xmlns:a16="http://schemas.microsoft.com/office/drawing/2014/main" id="{7198B258-DE22-E5C2-159D-36707E6D49FE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: Shape 184">
                  <a:extLst>
                    <a:ext uri="{FF2B5EF4-FFF2-40B4-BE49-F238E27FC236}">
                      <a16:creationId xmlns:a16="http://schemas.microsoft.com/office/drawing/2014/main" id="{7647089B-3889-60A1-255C-3BCE59D41840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aphic 2">
                <a:extLst>
                  <a:ext uri="{FF2B5EF4-FFF2-40B4-BE49-F238E27FC236}">
                    <a16:creationId xmlns:a16="http://schemas.microsoft.com/office/drawing/2014/main" id="{E8E0D709-C6C3-F0A7-F20F-8470714FC46D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8133B975-E891-C885-3CF9-C0A19B282153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4834A6F4-A557-E1A7-7087-2EF8AB1209AB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: Shape 179">
                  <a:extLst>
                    <a:ext uri="{FF2B5EF4-FFF2-40B4-BE49-F238E27FC236}">
                      <a16:creationId xmlns:a16="http://schemas.microsoft.com/office/drawing/2014/main" id="{F04DD9CE-FCC3-12D3-BC9E-A8F7F54E5594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: Shape 180">
                  <a:extLst>
                    <a:ext uri="{FF2B5EF4-FFF2-40B4-BE49-F238E27FC236}">
                      <a16:creationId xmlns:a16="http://schemas.microsoft.com/office/drawing/2014/main" id="{9F91D67E-1CFF-1A5F-7819-47B477F3FD6B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E72141F-E411-8A3F-2D84-28CDE89C37D2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F64BB7A-F65E-EDA4-0234-282D130DF50F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2E70634-9AF9-4EB2-14B0-3F348715BB6E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F12F74DF-1C9A-C7D3-2B19-1C5C8642C411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91F25B3-6667-2AA7-DB30-D0E3FEED537F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35" name="Graphic 2">
                <a:extLst>
                  <a:ext uri="{FF2B5EF4-FFF2-40B4-BE49-F238E27FC236}">
                    <a16:creationId xmlns:a16="http://schemas.microsoft.com/office/drawing/2014/main" id="{835A4A94-C5DA-D6B4-21B2-28FDE76E4171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64398F8C-B680-2F8B-9324-EED649F5B934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6224AC31-5B19-2D1A-6D0B-A4DC2B919E3A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0524060-E6EF-E18C-395E-912D5A78413E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16CF6E7-E20D-780A-CF67-BC282BE761A3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39" name="Graphic 2">
                <a:extLst>
                  <a:ext uri="{FF2B5EF4-FFF2-40B4-BE49-F238E27FC236}">
                    <a16:creationId xmlns:a16="http://schemas.microsoft.com/office/drawing/2014/main" id="{12BFFD02-8FA5-F7EE-0668-F926F8B1E2C1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3" name="Freeform: Shape 172">
                  <a:extLst>
                    <a:ext uri="{FF2B5EF4-FFF2-40B4-BE49-F238E27FC236}">
                      <a16:creationId xmlns:a16="http://schemas.microsoft.com/office/drawing/2014/main" id="{226A5708-FE96-EFDD-5F88-DB68B77A29CF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724352C8-99A4-C6AD-0868-25F515987E62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95AE1D05-015B-303E-F36B-DB356DC7BC94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B04DB9AD-31F2-A213-0FDE-9F1863B837D8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A938B2BC-4F03-8FDF-9F56-56E252953960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0D37FBFA-70A2-1A6D-D5F5-8155FA4FBE29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B026A470-8B59-CC1F-4763-A66383B1E9F9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5E4563DE-6E9F-2C63-E5D9-3B51600ED7AE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D457977E-C27E-8286-C788-BFACE35787A0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44280C52-470B-9216-2BA3-86E9E9B62D17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586C377E-A0D2-6B0C-8E4E-B9E8EF30FA94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8396D56B-01D6-A3AA-575B-E992FF611215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A77D3673-0DB1-16F6-4E3D-26C34CFC036A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1" name="Graphic 2">
                  <a:extLst>
                    <a:ext uri="{FF2B5EF4-FFF2-40B4-BE49-F238E27FC236}">
                      <a16:creationId xmlns:a16="http://schemas.microsoft.com/office/drawing/2014/main" id="{D60AC40A-E470-B9BA-ACCF-5B884E155AC9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71" name="Freeform: Shape 170">
                    <a:extLst>
                      <a:ext uri="{FF2B5EF4-FFF2-40B4-BE49-F238E27FC236}">
                        <a16:creationId xmlns:a16="http://schemas.microsoft.com/office/drawing/2014/main" id="{65A5D2A0-B822-A9A4-1888-BF3B4EF2E4C4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" name="Freeform: Shape 171">
                    <a:extLst>
                      <a:ext uri="{FF2B5EF4-FFF2-40B4-BE49-F238E27FC236}">
                        <a16:creationId xmlns:a16="http://schemas.microsoft.com/office/drawing/2014/main" id="{63A997D9-5851-D945-448C-74B1FBDEB2FA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731F2EA-FD03-411E-2BE9-5477873A9DA6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3" name="Graphic 2">
                  <a:extLst>
                    <a:ext uri="{FF2B5EF4-FFF2-40B4-BE49-F238E27FC236}">
                      <a16:creationId xmlns:a16="http://schemas.microsoft.com/office/drawing/2014/main" id="{BCD19D4B-E644-E839-DE21-D860500B2D56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263CD9BD-9D63-AC76-2628-554486825ABC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58" name="Graphic 2">
                    <a:extLst>
                      <a:ext uri="{FF2B5EF4-FFF2-40B4-BE49-F238E27FC236}">
                        <a16:creationId xmlns:a16="http://schemas.microsoft.com/office/drawing/2014/main" id="{463CA36D-8AC9-9E37-4A8D-8A27E9FD1D63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69" name="Freeform: Shape 168">
                      <a:extLst>
                        <a:ext uri="{FF2B5EF4-FFF2-40B4-BE49-F238E27FC236}">
                          <a16:creationId xmlns:a16="http://schemas.microsoft.com/office/drawing/2014/main" id="{48C232F5-C8E3-5883-333B-1C8F74C8B5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0" name="Freeform: Shape 169">
                      <a:extLst>
                        <a:ext uri="{FF2B5EF4-FFF2-40B4-BE49-F238E27FC236}">
                          <a16:creationId xmlns:a16="http://schemas.microsoft.com/office/drawing/2014/main" id="{6687F794-A1CE-04AE-1CF4-86E3D2C846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59" name="Freeform: Shape 158">
                    <a:extLst>
                      <a:ext uri="{FF2B5EF4-FFF2-40B4-BE49-F238E27FC236}">
                        <a16:creationId xmlns:a16="http://schemas.microsoft.com/office/drawing/2014/main" id="{CDCB6739-C6CC-B61E-B19D-6BF612CDC0BD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0" name="Freeform: Shape 159">
                    <a:extLst>
                      <a:ext uri="{FF2B5EF4-FFF2-40B4-BE49-F238E27FC236}">
                        <a16:creationId xmlns:a16="http://schemas.microsoft.com/office/drawing/2014/main" id="{D0F5A453-54DF-005B-83C6-E25021B6043E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61" name="Graphic 2">
                    <a:extLst>
                      <a:ext uri="{FF2B5EF4-FFF2-40B4-BE49-F238E27FC236}">
                        <a16:creationId xmlns:a16="http://schemas.microsoft.com/office/drawing/2014/main" id="{D8A57020-5C9F-C5B4-AC84-5F7362300DDA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66" name="Freeform: Shape 165">
                      <a:extLst>
                        <a:ext uri="{FF2B5EF4-FFF2-40B4-BE49-F238E27FC236}">
                          <a16:creationId xmlns:a16="http://schemas.microsoft.com/office/drawing/2014/main" id="{759DDD6D-4DB5-F6EF-063E-4064723393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7" name="Freeform: Shape 166">
                      <a:extLst>
                        <a:ext uri="{FF2B5EF4-FFF2-40B4-BE49-F238E27FC236}">
                          <a16:creationId xmlns:a16="http://schemas.microsoft.com/office/drawing/2014/main" id="{F90B490D-ED70-C653-C608-69CBFA4D15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8" name="Freeform: Shape 167">
                      <a:extLst>
                        <a:ext uri="{FF2B5EF4-FFF2-40B4-BE49-F238E27FC236}">
                          <a16:creationId xmlns:a16="http://schemas.microsoft.com/office/drawing/2014/main" id="{B3E83D47-D0D9-3326-918B-2C2F7DE297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62" name="Freeform: Shape 161">
                    <a:extLst>
                      <a:ext uri="{FF2B5EF4-FFF2-40B4-BE49-F238E27FC236}">
                        <a16:creationId xmlns:a16="http://schemas.microsoft.com/office/drawing/2014/main" id="{67500475-6F39-95BE-4BB0-E9F9CB8C2158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3" name="Freeform: Shape 162">
                    <a:extLst>
                      <a:ext uri="{FF2B5EF4-FFF2-40B4-BE49-F238E27FC236}">
                        <a16:creationId xmlns:a16="http://schemas.microsoft.com/office/drawing/2014/main" id="{C5965582-E84D-4139-9616-49DB49C0CDD4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0AB32857-BC58-52E4-E216-49DC3270E381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DDCAB48C-3017-E0F7-11BA-EB5325A7A74C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7B5532C2-1F86-EE70-B915-A512CCB03A2B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5" name="Graphic 2">
                  <a:extLst>
                    <a:ext uri="{FF2B5EF4-FFF2-40B4-BE49-F238E27FC236}">
                      <a16:creationId xmlns:a16="http://schemas.microsoft.com/office/drawing/2014/main" id="{5578D474-0837-FF6F-4FC1-A296DAB73E03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A413398B-B29D-7E7C-1F86-45E7E2326C18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5C290E4D-03CE-46D2-E015-3516392BDA3D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: Shape 67">
                    <a:extLst>
                      <a:ext uri="{FF2B5EF4-FFF2-40B4-BE49-F238E27FC236}">
                        <a16:creationId xmlns:a16="http://schemas.microsoft.com/office/drawing/2014/main" id="{72042323-45CD-B6B6-A05F-38EDE2BD7BE1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65BFE93B-7FCC-71E5-9DE0-D6266F6387F9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02295DCE-1D0E-D77E-69DF-E6BA0F2D8480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FE7A300C-8F53-7989-5F99-40DD0CBB7608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7BA91001-A1F7-2360-66EB-C1DB143C294C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7A49E3C4-48B0-0131-0F2A-49CE5AE25D0C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8FFBB947-1B56-2D9F-0E95-9498E1B7C3CF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4" name="Rectangle 153">
                    <a:extLst>
                      <a:ext uri="{FF2B5EF4-FFF2-40B4-BE49-F238E27FC236}">
                        <a16:creationId xmlns:a16="http://schemas.microsoft.com/office/drawing/2014/main" id="{FA4EBC23-7AF1-0502-C508-5302F638D463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66A1200-2D63-7899-E721-A097B633C020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F4F3AC21-85AB-09A4-6ACB-41BD50D9BB47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EE1D9380-3E0A-9750-5662-C5555B5D07EB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1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89" name="Graphic 188">
            <a:extLst>
              <a:ext uri="{FF2B5EF4-FFF2-40B4-BE49-F238E27FC236}">
                <a16:creationId xmlns:a16="http://schemas.microsoft.com/office/drawing/2014/main" id="{19A55EC6-BC1E-3BA1-FA42-12587733E075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90" name="TextBox 189">
            <a:extLst>
              <a:ext uri="{FF2B5EF4-FFF2-40B4-BE49-F238E27FC236}">
                <a16:creationId xmlns:a16="http://schemas.microsoft.com/office/drawing/2014/main" id="{40B28C89-FA2E-6BE2-77CE-D0CD4101CF76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  <a:endParaRPr lang="fr-FR" sz="800" dirty="0">
              <a:solidFill>
                <a:schemeClr val="bg1"/>
              </a:solidFill>
              <a:latin typeface="Circular Std Light Italic" panose="020B0404020101020102" pitchFamily="34" charset="0"/>
              <a:ea typeface="Circular Std Light Italic" panose="020B0404020101020102" pitchFamily="34" charset="0"/>
              <a:cs typeface="Circular Std Light Italic" panose="020B0404020101020102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6CA866D-79D8-BAD3-2E90-456AF323F17D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4AEC142C-19E5-0281-326B-0A5D5C391F6D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1091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B6F01C-71C8-AE86-DD87-03ECB485A7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16094E7-F62D-1CF3-72C7-444170C3135E}"/>
              </a:ext>
            </a:extLst>
          </p:cNvPr>
          <p:cNvSpPr txBox="1">
            <a:spLocks/>
          </p:cNvSpPr>
          <p:nvPr/>
        </p:nvSpPr>
        <p:spPr>
          <a:xfrm>
            <a:off x="539552" y="267494"/>
            <a:ext cx="3024336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KEY NUMBERS SLIDE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83EE994-E77A-64BA-E100-D590097EA6A4}"/>
              </a:ext>
            </a:extLst>
          </p:cNvPr>
          <p:cNvSpPr>
            <a:spLocks/>
          </p:cNvSpPr>
          <p:nvPr/>
        </p:nvSpPr>
        <p:spPr>
          <a:xfrm>
            <a:off x="2011915" y="2354250"/>
            <a:ext cx="1290658" cy="524809"/>
          </a:xfrm>
          <a:prstGeom prst="rect">
            <a:avLst/>
          </a:prstGeom>
          <a:solidFill>
            <a:srgbClr val="280D5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EA9A60B7-4855-3C83-83E9-19157BDD20DB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3225166"/>
              <a:gd name="adj2" fmla="val 21529248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1ED08A56-B356-1D09-F3C3-24CD27676B90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7188212"/>
              <a:gd name="adj2" fmla="val 20039569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C5711060-CB77-1326-B407-4978B6E1E087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790794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FA10F301-33FC-737D-11D2-B96CDE64D685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901448"/>
              <a:gd name="adj2" fmla="val 8365650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A3C15B-23E6-982A-4605-3D5C8F34CA67}"/>
              </a:ext>
            </a:extLst>
          </p:cNvPr>
          <p:cNvSpPr txBox="1">
            <a:spLocks/>
          </p:cNvSpPr>
          <p:nvPr/>
        </p:nvSpPr>
        <p:spPr>
          <a:xfrm>
            <a:off x="3195132" y="1346169"/>
            <a:ext cx="2753736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Lorem </a:t>
            </a:r>
            <a:r>
              <a:rPr kumimoji="0" lang="en-US" sz="4000" b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ipsum </a:t>
            </a:r>
            <a:endParaRPr kumimoji="0" lang="en-US" sz="4000" b="0" u="none" strike="noStrike" kern="1200" cap="none" spc="0" normalizeH="0" baseline="3000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2776F5-87D9-299D-F1F4-2F6A841C4954}"/>
              </a:ext>
            </a:extLst>
          </p:cNvPr>
          <p:cNvSpPr txBox="1">
            <a:spLocks/>
          </p:cNvSpPr>
          <p:nvPr/>
        </p:nvSpPr>
        <p:spPr>
          <a:xfrm>
            <a:off x="2411761" y="2008935"/>
            <a:ext cx="4320478" cy="12311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 si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nsectetu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li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sed do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iusmo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tempo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incididu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labore et dolore magn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liqu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U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ni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ad minim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venia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qu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nostru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xercitatio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llamc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abor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nisi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u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liqui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ex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mmod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nsequa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.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7BF84CD-47D4-82AD-4F6C-380F44612BE3}"/>
              </a:ext>
            </a:extLst>
          </p:cNvPr>
          <p:cNvGrpSpPr/>
          <p:nvPr/>
        </p:nvGrpSpPr>
        <p:grpSpPr>
          <a:xfrm>
            <a:off x="1483294" y="774502"/>
            <a:ext cx="692540" cy="593606"/>
            <a:chOff x="1581979" y="494209"/>
            <a:chExt cx="940155" cy="805849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4686B1-C634-B034-E569-4BD8477C8E6C}"/>
                </a:ext>
              </a:extLst>
            </p:cNvPr>
            <p:cNvSpPr/>
            <p:nvPr/>
          </p:nvSpPr>
          <p:spPr>
            <a:xfrm>
              <a:off x="1581979" y="494209"/>
              <a:ext cx="402924" cy="805849"/>
            </a:xfrm>
            <a:custGeom>
              <a:avLst/>
              <a:gdLst>
                <a:gd name="csX0" fmla="*/ 0 w 402924"/>
                <a:gd name="csY0" fmla="*/ 402925 h 805849"/>
                <a:gd name="csX1" fmla="*/ 0 w 402924"/>
                <a:gd name="csY1" fmla="*/ 805850 h 805849"/>
                <a:gd name="csX2" fmla="*/ 402925 w 402924"/>
                <a:gd name="csY2" fmla="*/ 805850 h 805849"/>
                <a:gd name="csX3" fmla="*/ 402925 w 402924"/>
                <a:gd name="csY3" fmla="*/ 402925 h 805849"/>
                <a:gd name="csX4" fmla="*/ 134309 w 402924"/>
                <a:gd name="csY4" fmla="*/ 402925 h 805849"/>
                <a:gd name="csX5" fmla="*/ 402925 w 402924"/>
                <a:gd name="csY5" fmla="*/ 134309 h 805849"/>
                <a:gd name="csX6" fmla="*/ 402925 w 402924"/>
                <a:gd name="csY6" fmla="*/ 0 h 805849"/>
                <a:gd name="csX7" fmla="*/ 0 w 402924"/>
                <a:gd name="csY7" fmla="*/ 402925 h 80584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402924" h="805849">
                  <a:moveTo>
                    <a:pt x="0" y="402925"/>
                  </a:moveTo>
                  <a:lnTo>
                    <a:pt x="0" y="805850"/>
                  </a:lnTo>
                  <a:lnTo>
                    <a:pt x="402925" y="805850"/>
                  </a:lnTo>
                  <a:lnTo>
                    <a:pt x="402925" y="402925"/>
                  </a:lnTo>
                  <a:lnTo>
                    <a:pt x="134309" y="402925"/>
                  </a:lnTo>
                  <a:cubicBezTo>
                    <a:pt x="134309" y="254813"/>
                    <a:pt x="254813" y="134309"/>
                    <a:pt x="402925" y="134309"/>
                  </a:cubicBezTo>
                  <a:lnTo>
                    <a:pt x="402925" y="0"/>
                  </a:lnTo>
                  <a:cubicBezTo>
                    <a:pt x="180739" y="0"/>
                    <a:pt x="0" y="180739"/>
                    <a:pt x="0" y="402925"/>
                  </a:cubicBezTo>
                  <a:close/>
                </a:path>
              </a:pathLst>
            </a:custGeom>
            <a:noFill/>
            <a:ln w="25400" cap="flat">
              <a:solidFill>
                <a:schemeClr val="accent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6EBB3F5-1498-8C3B-0EDC-9CA4EB95DC09}"/>
                </a:ext>
              </a:extLst>
            </p:cNvPr>
            <p:cNvSpPr/>
            <p:nvPr/>
          </p:nvSpPr>
          <p:spPr>
            <a:xfrm>
              <a:off x="2119210" y="494209"/>
              <a:ext cx="402924" cy="805849"/>
            </a:xfrm>
            <a:custGeom>
              <a:avLst/>
              <a:gdLst>
                <a:gd name="csX0" fmla="*/ 402925 w 402924"/>
                <a:gd name="csY0" fmla="*/ 134309 h 805849"/>
                <a:gd name="csX1" fmla="*/ 402925 w 402924"/>
                <a:gd name="csY1" fmla="*/ 0 h 805849"/>
                <a:gd name="csX2" fmla="*/ 0 w 402924"/>
                <a:gd name="csY2" fmla="*/ 402925 h 805849"/>
                <a:gd name="csX3" fmla="*/ 0 w 402924"/>
                <a:gd name="csY3" fmla="*/ 805850 h 805849"/>
                <a:gd name="csX4" fmla="*/ 402925 w 402924"/>
                <a:gd name="csY4" fmla="*/ 805850 h 805849"/>
                <a:gd name="csX5" fmla="*/ 402925 w 402924"/>
                <a:gd name="csY5" fmla="*/ 402925 h 805849"/>
                <a:gd name="csX6" fmla="*/ 134309 w 402924"/>
                <a:gd name="csY6" fmla="*/ 402925 h 805849"/>
                <a:gd name="csX7" fmla="*/ 402925 w 402924"/>
                <a:gd name="csY7" fmla="*/ 134309 h 80584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402924" h="805849">
                  <a:moveTo>
                    <a:pt x="402925" y="134309"/>
                  </a:moveTo>
                  <a:lnTo>
                    <a:pt x="402925" y="0"/>
                  </a:lnTo>
                  <a:cubicBezTo>
                    <a:pt x="180739" y="0"/>
                    <a:pt x="0" y="180739"/>
                    <a:pt x="0" y="402925"/>
                  </a:cubicBezTo>
                  <a:lnTo>
                    <a:pt x="0" y="805850"/>
                  </a:lnTo>
                  <a:lnTo>
                    <a:pt x="402925" y="805850"/>
                  </a:lnTo>
                  <a:lnTo>
                    <a:pt x="402925" y="402925"/>
                  </a:lnTo>
                  <a:lnTo>
                    <a:pt x="134309" y="402925"/>
                  </a:lnTo>
                  <a:cubicBezTo>
                    <a:pt x="134309" y="254813"/>
                    <a:pt x="254813" y="134309"/>
                    <a:pt x="402925" y="134309"/>
                  </a:cubicBezTo>
                  <a:close/>
                </a:path>
              </a:pathLst>
            </a:custGeom>
            <a:noFill/>
            <a:ln w="25400" cap="flat">
              <a:solidFill>
                <a:schemeClr val="accent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EB46F6C-51B8-854E-D2E3-84F5A8C41266}"/>
              </a:ext>
            </a:extLst>
          </p:cNvPr>
          <p:cNvSpPr/>
          <p:nvPr/>
        </p:nvSpPr>
        <p:spPr>
          <a:xfrm rot="20700000">
            <a:off x="7037227" y="2555641"/>
            <a:ext cx="2086009" cy="2329392"/>
          </a:xfrm>
          <a:custGeom>
            <a:avLst/>
            <a:gdLst>
              <a:gd name="csX0" fmla="*/ 1172961 w 2086009"/>
              <a:gd name="csY0" fmla="*/ 1606376 h 2329392"/>
              <a:gd name="csX1" fmla="*/ 1122098 w 2086009"/>
              <a:gd name="csY1" fmla="*/ 1627486 h 2329392"/>
              <a:gd name="csX2" fmla="*/ 611236 w 2086009"/>
              <a:gd name="csY2" fmla="*/ 1943188 h 2329392"/>
              <a:gd name="csX3" fmla="*/ 461999 w 2086009"/>
              <a:gd name="csY3" fmla="*/ 2231194 h 2329392"/>
              <a:gd name="csX4" fmla="*/ 1018344 w 2086009"/>
              <a:gd name="csY4" fmla="*/ 1889032 h 2329392"/>
              <a:gd name="csX5" fmla="*/ 226560 w 2086009"/>
              <a:gd name="csY5" fmla="*/ 135354 h 2329392"/>
              <a:gd name="csX6" fmla="*/ 58154 w 2086009"/>
              <a:gd name="csY6" fmla="*/ 457054 h 2329392"/>
              <a:gd name="csX7" fmla="*/ 385381 w 2086009"/>
              <a:gd name="csY7" fmla="*/ 2207057 h 2329392"/>
              <a:gd name="csX8" fmla="*/ 404139 w 2086009"/>
              <a:gd name="csY8" fmla="*/ 2221610 h 2329392"/>
              <a:gd name="csX9" fmla="*/ 565341 w 2086009"/>
              <a:gd name="csY9" fmla="*/ 1911083 h 2329392"/>
              <a:gd name="csX10" fmla="*/ 298209 w 2086009"/>
              <a:gd name="csY10" fmla="*/ 5874 h 2329392"/>
              <a:gd name="csX11" fmla="*/ 2086009 w 2086009"/>
              <a:gd name="csY11" fmla="*/ 1382240 h 2329392"/>
              <a:gd name="csX12" fmla="*/ 2068383 w 2086009"/>
              <a:gd name="csY12" fmla="*/ 1448021 h 2329392"/>
              <a:gd name="csX13" fmla="*/ 279422 w 2086009"/>
              <a:gd name="csY13" fmla="*/ 77670 h 2329392"/>
              <a:gd name="csX14" fmla="*/ 620703 w 2086009"/>
              <a:gd name="csY14" fmla="*/ 1875537 h 2329392"/>
              <a:gd name="csX15" fmla="*/ 1256693 w 2086009"/>
              <a:gd name="csY15" fmla="*/ 1483335 h 2329392"/>
              <a:gd name="csX16" fmla="*/ 2057067 w 2086009"/>
              <a:gd name="csY16" fmla="*/ 1490252 h 2329392"/>
              <a:gd name="csX17" fmla="*/ 2044000 w 2086009"/>
              <a:gd name="csY17" fmla="*/ 1539019 h 2329392"/>
              <a:gd name="csX18" fmla="*/ 1269100 w 2086009"/>
              <a:gd name="csY18" fmla="*/ 1539019 h 2329392"/>
              <a:gd name="csX19" fmla="*/ 1096138 w 2086009"/>
              <a:gd name="csY19" fmla="*/ 1875420 h 2329392"/>
              <a:gd name="csX20" fmla="*/ 1899035 w 2086009"/>
              <a:gd name="csY20" fmla="*/ 1885680 h 2329392"/>
              <a:gd name="csX21" fmla="*/ 1931022 w 2086009"/>
              <a:gd name="csY21" fmla="*/ 1869627 h 2329392"/>
              <a:gd name="csX22" fmla="*/ 1980697 w 2086009"/>
              <a:gd name="csY22" fmla="*/ 1775270 h 2329392"/>
              <a:gd name="csX23" fmla="*/ 1939639 w 2086009"/>
              <a:gd name="csY23" fmla="*/ 1928502 h 2329392"/>
              <a:gd name="csX24" fmla="*/ 1054888 w 2086009"/>
              <a:gd name="csY24" fmla="*/ 1935220 h 2329392"/>
              <a:gd name="csX25" fmla="*/ 432745 w 2086009"/>
              <a:gd name="csY25" fmla="*/ 2322130 h 2329392"/>
              <a:gd name="csX26" fmla="*/ 339664 w 2086009"/>
              <a:gd name="csY26" fmla="*/ 2271885 h 2329392"/>
              <a:gd name="csX27" fmla="*/ 0 w 2086009"/>
              <a:gd name="csY27" fmla="*/ 457348 h 2329392"/>
              <a:gd name="csX28" fmla="*/ 8203 w 2086009"/>
              <a:gd name="csY28" fmla="*/ 407161 h 2329392"/>
              <a:gd name="csX29" fmla="*/ 224120 w 2086009"/>
              <a:gd name="csY29" fmla="*/ 12784 h 2329392"/>
              <a:gd name="csX30" fmla="*/ 298209 w 2086009"/>
              <a:gd name="csY30" fmla="*/ 5874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2086009" h="2329392">
                <a:moveTo>
                  <a:pt x="1172961" y="1606376"/>
                </a:moveTo>
                <a:cubicBezTo>
                  <a:pt x="1166258" y="1599879"/>
                  <a:pt x="1131329" y="1622311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4"/>
                </a:lnTo>
                <a:lnTo>
                  <a:pt x="1018344" y="1889032"/>
                </a:ln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4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98209" y="5874"/>
                </a:moveTo>
                <a:lnTo>
                  <a:pt x="2086009" y="1382240"/>
                </a:lnTo>
                <a:lnTo>
                  <a:pt x="2068383" y="1448021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2057067" y="1490252"/>
                </a:lnTo>
                <a:lnTo>
                  <a:pt x="2044000" y="1539019"/>
                </a:lnTo>
                <a:lnTo>
                  <a:pt x="1269100" y="1539019"/>
                </a:lnTo>
                <a:lnTo>
                  <a:pt x="1096138" y="1875420"/>
                </a:lnTo>
                <a:lnTo>
                  <a:pt x="1899035" y="1885680"/>
                </a:lnTo>
                <a:lnTo>
                  <a:pt x="1931022" y="1869627"/>
                </a:lnTo>
                <a:lnTo>
                  <a:pt x="1980697" y="1775270"/>
                </a:lnTo>
                <a:lnTo>
                  <a:pt x="1939639" y="1928502"/>
                </a:lnTo>
                <a:lnTo>
                  <a:pt x="1054888" y="1935220"/>
                </a:lnTo>
                <a:lnTo>
                  <a:pt x="432745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8644" y="-1240"/>
                  <a:pt x="279775" y="-4004"/>
                  <a:pt x="298209" y="5874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Arc 32">
            <a:extLst>
              <a:ext uri="{FF2B5EF4-FFF2-40B4-BE49-F238E27FC236}">
                <a16:creationId xmlns:a16="http://schemas.microsoft.com/office/drawing/2014/main" id="{729D1432-C67F-C3E0-7A50-5BFEA3686391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2092338"/>
              <a:gd name="adj2" fmla="val 1176790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647C34-961F-CDFD-125C-CC342C57A23C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8AF1FA6-7C73-5874-5EAB-9DF2A2B83380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FBAFDE-BF4C-7F82-B105-83EBBF802863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8" name="Graphic 2">
              <a:extLst>
                <a:ext uri="{FF2B5EF4-FFF2-40B4-BE49-F238E27FC236}">
                  <a16:creationId xmlns:a16="http://schemas.microsoft.com/office/drawing/2014/main" id="{8A86F520-ABB2-5B4B-BAC7-126072CD500B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8B1DBAD7-1BD3-F969-64B0-65679D3C845C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428B0C99-7231-0AE0-F251-145D553B4CF5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DEDBA630-772A-076B-FE82-82260F180FB9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97D2075C-6C5A-41B5-C22B-227E72A17D4E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6ADCC907-9612-F15C-FADD-85E826D214BD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4F0256A1-47D0-3F09-6285-AF2C9225825A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9D5BBDF9-3F56-F9E1-B414-0AD7688AA2E5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aphic 2">
              <a:extLst>
                <a:ext uri="{FF2B5EF4-FFF2-40B4-BE49-F238E27FC236}">
                  <a16:creationId xmlns:a16="http://schemas.microsoft.com/office/drawing/2014/main" id="{71283029-AC4F-5A3B-DB27-B370017FDBB0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62AA5B51-9127-8447-013F-20AE8132F309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E7A7DC7-ED74-40DD-BA98-C59FFA9EB844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D96A63E9-D249-3B1E-8997-1702D4B251D5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897EC7C6-2EB3-F7DC-C0F1-CDA9D1B9DB2D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BBC7B1D-9061-152C-7398-27EE2C599E68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FFBEC8A-C9E0-4EEA-9785-C475A8CE800F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CA32D23-409C-D779-6349-05D748BD6E28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6F851FA-CE1E-19B4-23F6-6B657C0E32A2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F0B28AB-7175-2B43-1C82-0D128514AE9C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23" name="Graphic 2">
              <a:extLst>
                <a:ext uri="{FF2B5EF4-FFF2-40B4-BE49-F238E27FC236}">
                  <a16:creationId xmlns:a16="http://schemas.microsoft.com/office/drawing/2014/main" id="{AE0276C4-5A34-D799-865A-994D95B07A4C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166E5759-3B59-21D2-7431-118199588558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D94D9A-37BB-6B91-8B96-0C9807145561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B48D41C-980A-D967-C32B-90C55C9A6FE4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8DB38A4-BB3B-6E37-416D-443424AF7DBB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26" name="Graphic 2">
              <a:extLst>
                <a:ext uri="{FF2B5EF4-FFF2-40B4-BE49-F238E27FC236}">
                  <a16:creationId xmlns:a16="http://schemas.microsoft.com/office/drawing/2014/main" id="{87CDF0A8-1AC6-DBA5-9C3C-5032397A15A0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1D4B87C-F3C2-96CC-768D-B2AA9BC0A1BD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D8AD8CA-9639-70D1-0541-FE0D7784CACF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1548EE57-FA9A-46C4-A47A-B25E1C5B9E6B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840750B-B085-5F80-25AD-1F5A3993C38A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E64C19C-ADD9-BDD0-33EF-67A1F4FAE947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3A642F5-4FFB-8A9F-0938-18EC9D7B8DA1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908B031E-1D38-CA48-10FE-F24B5ABFFDA8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FDDBE7-FD81-ACDB-8BFD-5B14C30F3131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E1B0A27E-A328-95CB-B61F-72ADBE31850A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DE8A1E6-6C7C-8ED3-895E-18D752C0C16A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C1D9953-6499-6812-FDDA-34D041D57770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23FCDC5D-B856-345C-33E8-6630AF650DA4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655B197-2C98-D894-A673-6A47B3D73E13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39" name="Graphic 2">
                <a:extLst>
                  <a:ext uri="{FF2B5EF4-FFF2-40B4-BE49-F238E27FC236}">
                    <a16:creationId xmlns:a16="http://schemas.microsoft.com/office/drawing/2014/main" id="{57E9CC8E-CC3C-0180-D8F4-11540D146456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5AB47DCC-0494-DB81-D153-094F1D055366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C3A4A442-F6B2-3C4B-63E0-B2430E261664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5CDAFD38-3680-A603-7108-148318B4695E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41" name="Graphic 2">
                <a:extLst>
                  <a:ext uri="{FF2B5EF4-FFF2-40B4-BE49-F238E27FC236}">
                    <a16:creationId xmlns:a16="http://schemas.microsoft.com/office/drawing/2014/main" id="{AA3492AB-92B0-B0DB-37AD-21DC613D596B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DA4D147C-5E7E-DB63-0521-7E8648790D71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57" name="Graphic 2">
                  <a:extLst>
                    <a:ext uri="{FF2B5EF4-FFF2-40B4-BE49-F238E27FC236}">
                      <a16:creationId xmlns:a16="http://schemas.microsoft.com/office/drawing/2014/main" id="{1D95A343-BD3A-06B0-B11A-89571E3A6E53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68" name="Freeform: Shape 67">
                    <a:extLst>
                      <a:ext uri="{FF2B5EF4-FFF2-40B4-BE49-F238E27FC236}">
                        <a16:creationId xmlns:a16="http://schemas.microsoft.com/office/drawing/2014/main" id="{63DE0745-B9DA-8CED-FFAF-D3985DBF6726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6E7CC39A-118C-40A7-FEAE-AA905FE88D29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19E3651B-7DCA-58D3-2EC9-CF8D53B1D59E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87BF112A-D05A-7937-4369-750D2DE49D24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0" name="Graphic 2">
                  <a:extLst>
                    <a:ext uri="{FF2B5EF4-FFF2-40B4-BE49-F238E27FC236}">
                      <a16:creationId xmlns:a16="http://schemas.microsoft.com/office/drawing/2014/main" id="{52EE80CF-6705-F1B5-EBAB-71880DC11C3D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65" name="Freeform: Shape 64">
                    <a:extLst>
                      <a:ext uri="{FF2B5EF4-FFF2-40B4-BE49-F238E27FC236}">
                        <a16:creationId xmlns:a16="http://schemas.microsoft.com/office/drawing/2014/main" id="{6D8CA302-9EAB-CB4C-D58D-8233E212A96F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785A4273-B8E0-F934-67B5-3C72BFF4175A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CFC829F3-C17F-0D5C-2291-A91F928A1A30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1684D9C-AF59-C569-A81E-1B9ACD86B760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DEC928C0-37BA-4A43-D1A0-24B80092F542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C20E6A38-99A1-565D-D45D-2E90C0527E6E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25956CEC-9196-5981-FB00-786AAF8696F3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7F82239-898F-9D2E-52B0-FA17AA88DF72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43" name="Graphic 2">
                <a:extLst>
                  <a:ext uri="{FF2B5EF4-FFF2-40B4-BE49-F238E27FC236}">
                    <a16:creationId xmlns:a16="http://schemas.microsoft.com/office/drawing/2014/main" id="{661F0163-AA9A-D336-3118-561135F965DD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9C075F9B-68C3-2158-5D67-5D229DBAF734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9575B142-9092-9D98-1159-23E72A9A15D3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BD767411-6FD5-624A-BDA9-1EAAC49CB16D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A2C3A7D3-7E99-4790-7AF7-5B3A0A5BA98B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E079D450-AB7B-BC2D-1693-A2CD501315CC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AE239B4C-6716-D106-09C0-9F77FFE9CAA4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B0B3F096-6079-4F75-F848-EADC9DFB58E0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8D3E3902-2C6C-9EB7-D5F1-668115F2EA3B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00717DF5-4006-AFFE-7990-4F17FB6626B2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4B2752EB-103C-75F6-D7B5-2BE52A1EDA14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C29ADE57-5820-5AD4-3DD2-A6FAF351279E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9106EB5D-D49E-2D16-15C1-BE71C0CB1E33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71BB52FF-543D-5E96-AF06-D501156402BB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2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67" name="Graphic 166">
            <a:extLst>
              <a:ext uri="{FF2B5EF4-FFF2-40B4-BE49-F238E27FC236}">
                <a16:creationId xmlns:a16="http://schemas.microsoft.com/office/drawing/2014/main" id="{E6BFBD34-ABDF-2CB2-EF4A-906F23D0F27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9D566DAF-3FE6-4DF8-757C-C26FD59EE365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B612B8E4-68C7-5F0F-6C70-1D88FD71F088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8BA6AE43-92D0-332F-6AD0-4DAE67453588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36355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7673F7A-2CC9-B884-3D26-2FE921504B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rc 26">
            <a:extLst>
              <a:ext uri="{FF2B5EF4-FFF2-40B4-BE49-F238E27FC236}">
                <a16:creationId xmlns:a16="http://schemas.microsoft.com/office/drawing/2014/main" id="{F1417845-8B15-6A91-3295-5482B25CDB67}"/>
              </a:ext>
            </a:extLst>
          </p:cNvPr>
          <p:cNvSpPr/>
          <p:nvPr/>
        </p:nvSpPr>
        <p:spPr>
          <a:xfrm>
            <a:off x="3286125" y="1285875"/>
            <a:ext cx="2571750" cy="2571750"/>
          </a:xfrm>
          <a:prstGeom prst="arc">
            <a:avLst>
              <a:gd name="adj1" fmla="val 20201584"/>
              <a:gd name="adj2" fmla="val 20039569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240E6A5-E917-A835-2697-B154132389E2}"/>
              </a:ext>
            </a:extLst>
          </p:cNvPr>
          <p:cNvSpPr txBox="1">
            <a:spLocks/>
          </p:cNvSpPr>
          <p:nvPr/>
        </p:nvSpPr>
        <p:spPr>
          <a:xfrm>
            <a:off x="539552" y="267494"/>
            <a:ext cx="3024336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KEY NUMBERS SLIDE</a:t>
            </a:r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2B714B15-6DDF-3E27-19D9-1AAE64CFE28C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1659584"/>
              <a:gd name="adj2" fmla="val 19842301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21E16515-82F1-B22D-7F02-84131FC0B278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7188212"/>
              <a:gd name="adj2" fmla="val 20039569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06EBE8F7-0264-878F-6A06-5F161E508E8E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790794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F39C3024-6C0E-9B0F-C9C4-9B9B2A85AF9F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3727734"/>
              <a:gd name="adj2" fmla="val 8956692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Arc 32">
            <a:extLst>
              <a:ext uri="{FF2B5EF4-FFF2-40B4-BE49-F238E27FC236}">
                <a16:creationId xmlns:a16="http://schemas.microsoft.com/office/drawing/2014/main" id="{DF6D2AD4-62D0-C7B9-107F-AEC67060CFDC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591579"/>
              <a:gd name="adj2" fmla="val 9737533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D44ED30-ED00-5055-AA01-2A6CA5447AFA}"/>
              </a:ext>
            </a:extLst>
          </p:cNvPr>
          <p:cNvSpPr>
            <a:spLocks/>
          </p:cNvSpPr>
          <p:nvPr/>
        </p:nvSpPr>
        <p:spPr>
          <a:xfrm>
            <a:off x="3321999" y="1321748"/>
            <a:ext cx="2500002" cy="250000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1DF9077-6067-3174-84FC-CE1A5C653D9A}"/>
              </a:ext>
            </a:extLst>
          </p:cNvPr>
          <p:cNvSpPr/>
          <p:nvPr/>
        </p:nvSpPr>
        <p:spPr>
          <a:xfrm>
            <a:off x="4431721" y="1518025"/>
            <a:ext cx="1172049" cy="1172047"/>
          </a:xfrm>
          <a:prstGeom prst="ellipse">
            <a:avLst/>
          </a:prstGeom>
          <a:gradFill flip="none" rotWithShape="1">
            <a:gsLst>
              <a:gs pos="0">
                <a:schemeClr val="accent3">
                  <a:alpha val="28000"/>
                </a:schemeClr>
              </a:gs>
              <a:gs pos="100000">
                <a:schemeClr val="accent3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62086-DED9-41BE-4392-E0AB8E9724B6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1" t="394" r="5671" b="12519"/>
          <a:stretch>
            <a:fillRect/>
          </a:stretch>
        </p:blipFill>
        <p:spPr>
          <a:xfrm>
            <a:off x="3321999" y="1321748"/>
            <a:ext cx="2500002" cy="2500002"/>
          </a:xfrm>
          <a:prstGeom prst="ellipse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E45379B-C614-63D6-4EF9-7EC8558156B3}"/>
              </a:ext>
            </a:extLst>
          </p:cNvPr>
          <p:cNvSpPr>
            <a:spLocks/>
          </p:cNvSpPr>
          <p:nvPr/>
        </p:nvSpPr>
        <p:spPr>
          <a:xfrm>
            <a:off x="3321999" y="1321748"/>
            <a:ext cx="2500002" cy="2500002"/>
          </a:xfrm>
          <a:prstGeom prst="ellipse">
            <a:avLst/>
          </a:prstGeom>
          <a:gradFill flip="none" rotWithShape="1">
            <a:gsLst>
              <a:gs pos="48000">
                <a:schemeClr val="accent1">
                  <a:alpha val="0"/>
                </a:schemeClr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5C63BE0-3A09-C44F-F972-E33972811821}"/>
              </a:ext>
            </a:extLst>
          </p:cNvPr>
          <p:cNvSpPr/>
          <p:nvPr/>
        </p:nvSpPr>
        <p:spPr>
          <a:xfrm>
            <a:off x="5196132" y="3377127"/>
            <a:ext cx="520594" cy="5205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F645172-3272-FCEA-ABD0-A3B5976ABD0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330424" y="3492593"/>
            <a:ext cx="273346" cy="28966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C915F3A-EF27-09BA-C290-540116A4A8B6}"/>
              </a:ext>
            </a:extLst>
          </p:cNvPr>
          <p:cNvSpPr txBox="1">
            <a:spLocks/>
          </p:cNvSpPr>
          <p:nvPr/>
        </p:nvSpPr>
        <p:spPr>
          <a:xfrm>
            <a:off x="5453706" y="1460156"/>
            <a:ext cx="2850284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Prénom</a:t>
            </a:r>
            <a:endParaRPr kumimoji="0" lang="en-US" sz="4800" b="0" i="1" u="none" strike="noStrike" kern="1200" cap="none" spc="0" normalizeH="0" baseline="3000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1F94C2-5CBD-B039-8A77-69B592AAD5A1}"/>
              </a:ext>
            </a:extLst>
          </p:cNvPr>
          <p:cNvSpPr txBox="1">
            <a:spLocks/>
          </p:cNvSpPr>
          <p:nvPr/>
        </p:nvSpPr>
        <p:spPr>
          <a:xfrm>
            <a:off x="5453706" y="2168076"/>
            <a:ext cx="285028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Nom</a:t>
            </a:r>
            <a:endParaRPr kumimoji="0" lang="en-US" sz="2800" b="0" i="1" u="none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763BD5-F311-A722-4BFA-BAC6162D8838}"/>
              </a:ext>
            </a:extLst>
          </p:cNvPr>
          <p:cNvSpPr txBox="1">
            <a:spLocks/>
          </p:cNvSpPr>
          <p:nvPr/>
        </p:nvSpPr>
        <p:spPr>
          <a:xfrm>
            <a:off x="6559541" y="2924616"/>
            <a:ext cx="1744449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ircular Std Bold" panose="020B0804020101010102" pitchFamily="34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POSI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57D7A6-94F7-3684-9635-55F1CD022E5D}"/>
              </a:ext>
            </a:extLst>
          </p:cNvPr>
          <p:cNvSpPr txBox="1">
            <a:spLocks/>
          </p:cNvSpPr>
          <p:nvPr/>
        </p:nvSpPr>
        <p:spPr>
          <a:xfrm>
            <a:off x="6559541" y="3253996"/>
            <a:ext cx="1744449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olo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i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me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,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consectetur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adipiscing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 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lit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7A29A5B-D2DE-684B-0891-D1D1F6773CC4}"/>
              </a:ext>
            </a:extLst>
          </p:cNvPr>
          <p:cNvGrpSpPr/>
          <p:nvPr/>
        </p:nvGrpSpPr>
        <p:grpSpPr>
          <a:xfrm>
            <a:off x="467544" y="2013637"/>
            <a:ext cx="2910737" cy="1109264"/>
            <a:chOff x="1023750" y="263200"/>
            <a:chExt cx="2354531" cy="110926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2650E32-B909-D6D5-DB6F-15CA7F1B5EFB}"/>
                </a:ext>
              </a:extLst>
            </p:cNvPr>
            <p:cNvSpPr txBox="1">
              <a:spLocks/>
            </p:cNvSpPr>
            <p:nvPr/>
          </p:nvSpPr>
          <p:spPr>
            <a:xfrm>
              <a:off x="1023750" y="263200"/>
              <a:ext cx="2354531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400" i="1" dirty="0">
                  <a:solidFill>
                    <a:schemeClr val="accent3"/>
                  </a:solidFill>
                  <a:latin typeface="Rift Demi" panose="00000500000000000000" pitchFamily="50" charset="0"/>
                  <a:cs typeface="Circular Std Bold" panose="020B0804020101010102" pitchFamily="34" charset="0"/>
                </a:rPr>
                <a:t>Mot-clef</a:t>
              </a:r>
              <a:endParaRPr kumimoji="0" lang="en-US" sz="4400" b="0" i="1" u="none" strike="noStrike" kern="1200" cap="none" spc="0" normalizeH="0" baseline="0" noProof="0" dirty="0">
                <a:ln>
                  <a:noFill/>
                </a:ln>
                <a:solidFill>
                  <a:srgbClr val="2D0F64">
                    <a:lumMod val="40000"/>
                    <a:lumOff val="6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CC138CD-9496-4A89-9905-325151EF6A8D}"/>
                </a:ext>
              </a:extLst>
            </p:cNvPr>
            <p:cNvSpPr txBox="1">
              <a:spLocks/>
            </p:cNvSpPr>
            <p:nvPr/>
          </p:nvSpPr>
          <p:spPr>
            <a:xfrm>
              <a:off x="1302761" y="847655"/>
              <a:ext cx="2019238" cy="5248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1" u="none" strike="noStrike" kern="1200" cap="none" spc="0" normalizeH="0" baseline="0" noProof="0" dirty="0">
                  <a:ln>
                    <a:noFill/>
                  </a:ln>
                  <a:solidFill>
                    <a:srgbClr val="2D0F64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Rift Demi" panose="00000500000000000000" pitchFamily="50" charset="0"/>
                  <a:ea typeface="+mn-ea"/>
                  <a:cs typeface="Circular Std Bold" panose="020B0804020101010102" pitchFamily="34" charset="0"/>
                </a:rPr>
                <a:t>INTERVENANT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9321649-BCC3-A9BF-9395-4B24D7673448}"/>
              </a:ext>
            </a:extLst>
          </p:cNvPr>
          <p:cNvCxnSpPr>
            <a:cxnSpLocks/>
          </p:cNvCxnSpPr>
          <p:nvPr/>
        </p:nvCxnSpPr>
        <p:spPr>
          <a:xfrm flipH="1">
            <a:off x="6438936" y="2750788"/>
            <a:ext cx="186505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2F4CA22-9172-14B0-DC8C-BBD6E5ECFE0A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C16A702-B3A8-B02F-14E5-43FA867E7C75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7EF12B2-A9FF-D47F-E98D-A2F068504AFC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36" name="Graphic 2">
              <a:extLst>
                <a:ext uri="{FF2B5EF4-FFF2-40B4-BE49-F238E27FC236}">
                  <a16:creationId xmlns:a16="http://schemas.microsoft.com/office/drawing/2014/main" id="{FE0B2175-4759-8226-00FF-C574D7474B96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2274E851-583A-4B04-497E-3F64E85CEDAD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A5EC0C68-0014-5C42-70DD-70222307298C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aphic 2">
              <a:extLst>
                <a:ext uri="{FF2B5EF4-FFF2-40B4-BE49-F238E27FC236}">
                  <a16:creationId xmlns:a16="http://schemas.microsoft.com/office/drawing/2014/main" id="{C202714F-A96D-D8D1-F1C1-4CFB8C241AB4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6D7B37D9-2560-4DC2-B585-1A0EBBF2975B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33F964FE-07ED-5635-61FE-A68D37EEA839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CA74995B-70B6-3E10-A3FC-EF6FE6AA6A98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0166777C-76AE-3780-B444-22445E21778B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aphic 2">
              <a:extLst>
                <a:ext uri="{FF2B5EF4-FFF2-40B4-BE49-F238E27FC236}">
                  <a16:creationId xmlns:a16="http://schemas.microsoft.com/office/drawing/2014/main" id="{C58A7AE0-47FF-E961-ED5E-1261743DFB9F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C757E10A-31FC-148A-FA3B-174E4BF00BB7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68F27A69-17A2-2534-9B57-8CE8C0C10E72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4B0EEFE1-FED5-94C3-95F4-6057A488AA46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D61AB213-0BF9-CA63-1AE9-DFB3AA8B6167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16250B6-38D1-65B4-9006-D2DE4D0D5444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B463C8B-8CB0-D00E-D905-D520FE9068A6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2133F11-EA7F-1D9E-7CC4-8B71D0A9C66E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6A6C689-B99D-BC76-991C-374B5E307CB8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E7BD89C-D396-BE55-4036-61580476C19F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44" name="Graphic 2">
              <a:extLst>
                <a:ext uri="{FF2B5EF4-FFF2-40B4-BE49-F238E27FC236}">
                  <a16:creationId xmlns:a16="http://schemas.microsoft.com/office/drawing/2014/main" id="{4A397E82-D1FA-A02E-FB74-549EFF2A106F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4019F98A-D110-81A9-E8EC-F88B9F65158F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AB119665-BE6A-BA3D-AC2F-9525F6C3B9F4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3665AAC-F91D-C239-CB13-332B4E3A730D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8026886-AC91-BF4C-5513-55C4C15817FB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47" name="Graphic 2">
              <a:extLst>
                <a:ext uri="{FF2B5EF4-FFF2-40B4-BE49-F238E27FC236}">
                  <a16:creationId xmlns:a16="http://schemas.microsoft.com/office/drawing/2014/main" id="{8B0AB1DD-0453-5536-5BBD-324F0E324F0B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3325A0D4-3D42-5013-66B0-1D603833213D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F9FF72F-DF8A-569D-6EB0-A184E4CA4BEE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02EF7C9D-451A-8A1D-B008-3F725A18E02C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D4CF908-A14C-450B-4F4D-1009332A72B6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079D0E8-3180-83E1-D903-A5175E08994A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48373DD-CE00-8BF6-E591-4DC18B53AA1C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40462B9D-274E-5F2A-95D5-7216CD099641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0B56922F-22A7-3D78-B72D-C896544DB426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BAC7B43-10FA-167B-4E68-02457BC4B6FB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7BDEFE0-4E44-FACF-E780-6B93408D8A25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A12B5C87-3FDE-2C4D-CAED-2CD76FBE5932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FAED634-A07B-BC9E-2AE6-5503AF01DBC5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AEBCCC72-FD59-DB02-4F84-0FD1220310F1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58" name="Graphic 2">
                <a:extLst>
                  <a:ext uri="{FF2B5EF4-FFF2-40B4-BE49-F238E27FC236}">
                    <a16:creationId xmlns:a16="http://schemas.microsoft.com/office/drawing/2014/main" id="{2F7CDF65-9CE9-869F-4CEE-59D09E5BCD37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72DCE7E2-2A5E-03F1-5916-30BB5B9DF0EF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B7E1CDA6-5A5F-360A-F81E-1E0697A8DDD3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FD28204-D1D0-DD8D-4315-9529362E5ABE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60" name="Graphic 2">
                <a:extLst>
                  <a:ext uri="{FF2B5EF4-FFF2-40B4-BE49-F238E27FC236}">
                    <a16:creationId xmlns:a16="http://schemas.microsoft.com/office/drawing/2014/main" id="{50F7FBB3-1BF9-CD1E-639F-D6468C110F7F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75" name="Freeform: Shape 74">
                  <a:extLst>
                    <a:ext uri="{FF2B5EF4-FFF2-40B4-BE49-F238E27FC236}">
                      <a16:creationId xmlns:a16="http://schemas.microsoft.com/office/drawing/2014/main" id="{55C83208-F316-2A80-27B0-9B6528C30A71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76" name="Graphic 2">
                  <a:extLst>
                    <a:ext uri="{FF2B5EF4-FFF2-40B4-BE49-F238E27FC236}">
                      <a16:creationId xmlns:a16="http://schemas.microsoft.com/office/drawing/2014/main" id="{F3952E27-C8D7-8508-F1A5-AF9D72FC85FE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66568F37-AD03-B849-E6A6-707368A72C06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CDBC785A-5EE7-AE6A-A04F-2877699CA11E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id="{365B8CF3-3A7B-2A0F-C57F-2D9447886130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FC9DDF92-9C8F-532D-85B4-9D70ECCBADB6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79" name="Graphic 2">
                  <a:extLst>
                    <a:ext uri="{FF2B5EF4-FFF2-40B4-BE49-F238E27FC236}">
                      <a16:creationId xmlns:a16="http://schemas.microsoft.com/office/drawing/2014/main" id="{1FBCBFDA-143F-13A2-A334-224229649C11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163" name="Freeform: Shape 162">
                    <a:extLst>
                      <a:ext uri="{FF2B5EF4-FFF2-40B4-BE49-F238E27FC236}">
                        <a16:creationId xmlns:a16="http://schemas.microsoft.com/office/drawing/2014/main" id="{D7DAD310-D42D-94C1-6137-16401BC34BCE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2176280D-F96A-625E-775C-BBD6314B4186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0356C60A-9467-2E1C-3B21-2626156AC8DC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FA0E8CF6-2B5F-1962-756B-CC1B329F062B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BE6CD4FA-D50E-3D1B-00A4-FCB2CE88D08B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8E243606-8243-55D8-5372-88C128465A02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646F6338-2FD5-971E-2D87-78E634672D64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1C63AC5-3E90-D535-1923-D69C48BDC82C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62" name="Graphic 2">
                <a:extLst>
                  <a:ext uri="{FF2B5EF4-FFF2-40B4-BE49-F238E27FC236}">
                    <a16:creationId xmlns:a16="http://schemas.microsoft.com/office/drawing/2014/main" id="{C13FE22C-4139-D2E1-B046-91CC8787F4D7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26C03BBF-1D10-9B03-AE2A-AEC8280F894E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164B520B-55D4-213E-BF0B-83CBADF1D4E5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F66CB02-3A80-8F5A-672E-145A57BFFF82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FC6AA84A-62F2-9F14-8EE1-5492BF80AD80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62E5542B-30BD-7416-9C67-E7D802F31C95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442806BD-16E1-2460-0431-7401CDB2B71C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2B201174-5C06-C963-BC3F-CA31A0211678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59B073A8-0770-1E95-437B-375BA1DD68BB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E6F7788E-43F2-9B2E-17C0-FF29F85985B1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853418FC-069E-D696-5DC2-117A421D830E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51A2D213-B9F4-96CC-E308-5BC8B9305265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3C1897FE-BFE4-58FB-BBE1-3E3BBF51D6E6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85" name="TextBox 184">
            <a:extLst>
              <a:ext uri="{FF2B5EF4-FFF2-40B4-BE49-F238E27FC236}">
                <a16:creationId xmlns:a16="http://schemas.microsoft.com/office/drawing/2014/main" id="{2E42D763-236F-6CDE-E197-32C0209947FF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3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86" name="Graphic 185">
            <a:extLst>
              <a:ext uri="{FF2B5EF4-FFF2-40B4-BE49-F238E27FC236}">
                <a16:creationId xmlns:a16="http://schemas.microsoft.com/office/drawing/2014/main" id="{079FCDE7-2E52-9ED1-AAAB-4D4CEFD690AD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87" name="TextBox 186">
            <a:extLst>
              <a:ext uri="{FF2B5EF4-FFF2-40B4-BE49-F238E27FC236}">
                <a16:creationId xmlns:a16="http://schemas.microsoft.com/office/drawing/2014/main" id="{C82AD39E-5C48-0CA2-1AF0-7183A1B753F2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AE17C231-CE1A-F85E-0A3D-7765A518B272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4B998F57-EE75-C924-7B23-BA1923A1C1D0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1584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9CF99E-3802-00FC-D829-6209B5043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>
            <a:extLst>
              <a:ext uri="{FF2B5EF4-FFF2-40B4-BE49-F238E27FC236}">
                <a16:creationId xmlns:a16="http://schemas.microsoft.com/office/drawing/2014/main" id="{A9816C93-A755-6A3F-04D2-67F8D66F607A}"/>
              </a:ext>
            </a:extLst>
          </p:cNvPr>
          <p:cNvSpPr txBox="1">
            <a:spLocks/>
          </p:cNvSpPr>
          <p:nvPr/>
        </p:nvSpPr>
        <p:spPr>
          <a:xfrm>
            <a:off x="919455" y="1879503"/>
            <a:ext cx="273273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Contactez</a:t>
            </a:r>
            <a:endParaRPr kumimoji="0" lang="en-US" sz="4400" b="0" u="none" strike="noStrike" kern="1200" cap="none" spc="0" normalizeH="0" baseline="0" noProof="0" dirty="0">
              <a:ln>
                <a:noFill/>
              </a:ln>
              <a:solidFill>
                <a:srgbClr val="2D0F64">
                  <a:lumMod val="40000"/>
                  <a:lumOff val="6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E33549-1989-ED00-8692-BA4F06DD0838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1B1169-2E68-C3E5-DB53-67D064FAA435}"/>
              </a:ext>
            </a:extLst>
          </p:cNvPr>
          <p:cNvSpPr txBox="1">
            <a:spLocks/>
          </p:cNvSpPr>
          <p:nvPr/>
        </p:nvSpPr>
        <p:spPr>
          <a:xfrm>
            <a:off x="539552" y="267494"/>
            <a:ext cx="3024336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KEY NUMBERS SLID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9EF16757-B13C-8E16-A9DF-C1D6455B58DF}"/>
              </a:ext>
            </a:extLst>
          </p:cNvPr>
          <p:cNvSpPr/>
          <p:nvPr/>
        </p:nvSpPr>
        <p:spPr>
          <a:xfrm rot="1800000" flipH="1">
            <a:off x="-323729" y="2377398"/>
            <a:ext cx="1375595" cy="2534003"/>
          </a:xfrm>
          <a:custGeom>
            <a:avLst/>
            <a:gdLst>
              <a:gd name="csX0" fmla="*/ 340170 w 1375595"/>
              <a:gd name="csY0" fmla="*/ 6701 h 2534003"/>
              <a:gd name="csX1" fmla="*/ 255655 w 1375595"/>
              <a:gd name="csY1" fmla="*/ 14582 h 2534003"/>
              <a:gd name="csX2" fmla="*/ 9357 w 1375595"/>
              <a:gd name="csY2" fmla="*/ 464452 h 2534003"/>
              <a:gd name="csX3" fmla="*/ 0 w 1375595"/>
              <a:gd name="csY3" fmla="*/ 521701 h 2534003"/>
              <a:gd name="csX4" fmla="*/ 376684 w 1375595"/>
              <a:gd name="csY4" fmla="*/ 2534003 h 2534003"/>
              <a:gd name="csX5" fmla="*/ 426530 w 1375595"/>
              <a:gd name="csY5" fmla="*/ 2447667 h 2534003"/>
              <a:gd name="csX6" fmla="*/ 66337 w 1375595"/>
              <a:gd name="csY6" fmla="*/ 521365 h 2534003"/>
              <a:gd name="csX7" fmla="*/ 258439 w 1375595"/>
              <a:gd name="csY7" fmla="*/ 154399 h 2534003"/>
              <a:gd name="csX8" fmla="*/ 629040 w 1375595"/>
              <a:gd name="csY8" fmla="*/ 2096909 h 2534003"/>
              <a:gd name="csX9" fmla="*/ 682417 w 1375595"/>
              <a:gd name="csY9" fmla="*/ 2004457 h 2534003"/>
              <a:gd name="csX10" fmla="*/ 318739 w 1375595"/>
              <a:gd name="csY10" fmla="*/ 88599 h 2534003"/>
              <a:gd name="csX11" fmla="*/ 1337839 w 1375595"/>
              <a:gd name="csY11" fmla="*/ 869233 h 2534003"/>
              <a:gd name="csX12" fmla="*/ 1375595 w 1375595"/>
              <a:gd name="csY12" fmla="*/ 803838 h 25340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375595" h="2534003">
                <a:moveTo>
                  <a:pt x="340170" y="6701"/>
                </a:moveTo>
                <a:cubicBezTo>
                  <a:pt x="319141" y="-4568"/>
                  <a:pt x="272223" y="-1415"/>
                  <a:pt x="255655" y="14582"/>
                </a:cubicBezTo>
                <a:lnTo>
                  <a:pt x="9357" y="464452"/>
                </a:lnTo>
                <a:lnTo>
                  <a:pt x="0" y="521701"/>
                </a:lnTo>
                <a:lnTo>
                  <a:pt x="376684" y="2534003"/>
                </a:lnTo>
                <a:lnTo>
                  <a:pt x="426530" y="2447667"/>
                </a:lnTo>
                <a:lnTo>
                  <a:pt x="66337" y="521365"/>
                </a:lnTo>
                <a:cubicBezTo>
                  <a:pt x="113524" y="391811"/>
                  <a:pt x="191666" y="274363"/>
                  <a:pt x="258439" y="154399"/>
                </a:cubicBezTo>
                <a:lnTo>
                  <a:pt x="629040" y="2096909"/>
                </a:lnTo>
                <a:lnTo>
                  <a:pt x="682417" y="2004457"/>
                </a:lnTo>
                <a:lnTo>
                  <a:pt x="318739" y="88599"/>
                </a:lnTo>
                <a:lnTo>
                  <a:pt x="1337839" y="869233"/>
                </a:lnTo>
                <a:lnTo>
                  <a:pt x="1375595" y="803838"/>
                </a:ln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4ED44BBC-B3FA-37A4-AD85-A0669C6287B8}"/>
              </a:ext>
            </a:extLst>
          </p:cNvPr>
          <p:cNvSpPr/>
          <p:nvPr/>
        </p:nvSpPr>
        <p:spPr>
          <a:xfrm rot="1800000" flipV="1">
            <a:off x="8106988" y="-91869"/>
            <a:ext cx="1151791" cy="1413569"/>
          </a:xfrm>
          <a:custGeom>
            <a:avLst/>
            <a:gdLst>
              <a:gd name="csX0" fmla="*/ 118081 w 1151791"/>
              <a:gd name="csY0" fmla="*/ 1152508 h 1413569"/>
              <a:gd name="csX1" fmla="*/ 192373 w 1151791"/>
              <a:gd name="csY1" fmla="*/ 1195401 h 1413569"/>
              <a:gd name="csX2" fmla="*/ 66337 w 1151791"/>
              <a:gd name="csY2" fmla="*/ 521365 h 1413569"/>
              <a:gd name="csX3" fmla="*/ 258439 w 1151791"/>
              <a:gd name="csY3" fmla="*/ 154399 h 1413569"/>
              <a:gd name="csX4" fmla="*/ 489809 w 1151791"/>
              <a:gd name="csY4" fmla="*/ 1367125 h 1413569"/>
              <a:gd name="csX5" fmla="*/ 570252 w 1151791"/>
              <a:gd name="csY5" fmla="*/ 1413569 h 1413569"/>
              <a:gd name="csX6" fmla="*/ 318739 w 1151791"/>
              <a:gd name="csY6" fmla="*/ 88599 h 1413569"/>
              <a:gd name="csX7" fmla="*/ 1113689 w 1151791"/>
              <a:gd name="csY7" fmla="*/ 697533 h 1413569"/>
              <a:gd name="csX8" fmla="*/ 1151791 w 1151791"/>
              <a:gd name="csY8" fmla="*/ 631539 h 1413569"/>
              <a:gd name="csX9" fmla="*/ 340170 w 1151791"/>
              <a:gd name="csY9" fmla="*/ 6701 h 1413569"/>
              <a:gd name="csX10" fmla="*/ 255655 w 1151791"/>
              <a:gd name="csY10" fmla="*/ 14582 h 1413569"/>
              <a:gd name="csX11" fmla="*/ 9357 w 1151791"/>
              <a:gd name="csY11" fmla="*/ 464452 h 1413569"/>
              <a:gd name="csX12" fmla="*/ 0 w 1151791"/>
              <a:gd name="csY12" fmla="*/ 521701 h 141356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151791" h="1413569">
                <a:moveTo>
                  <a:pt x="118081" y="1152508"/>
                </a:moveTo>
                <a:lnTo>
                  <a:pt x="192373" y="1195401"/>
                </a:lnTo>
                <a:lnTo>
                  <a:pt x="66337" y="521365"/>
                </a:lnTo>
                <a:cubicBezTo>
                  <a:pt x="113524" y="391811"/>
                  <a:pt x="191666" y="274363"/>
                  <a:pt x="258439" y="154399"/>
                </a:cubicBezTo>
                <a:lnTo>
                  <a:pt x="489809" y="1367125"/>
                </a:lnTo>
                <a:lnTo>
                  <a:pt x="570252" y="1413569"/>
                </a:lnTo>
                <a:lnTo>
                  <a:pt x="318739" y="88599"/>
                </a:lnTo>
                <a:lnTo>
                  <a:pt x="1113689" y="697533"/>
                </a:lnTo>
                <a:lnTo>
                  <a:pt x="1151791" y="631539"/>
                </a:lnTo>
                <a:lnTo>
                  <a:pt x="340170" y="6701"/>
                </a:lnTo>
                <a:cubicBezTo>
                  <a:pt x="319141" y="-4568"/>
                  <a:pt x="272223" y="-1415"/>
                  <a:pt x="255655" y="14582"/>
                </a:cubicBezTo>
                <a:lnTo>
                  <a:pt x="9357" y="464452"/>
                </a:lnTo>
                <a:lnTo>
                  <a:pt x="0" y="521701"/>
                </a:ln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35BEE05-84E3-CAB2-8751-E33CC696AF0D}"/>
              </a:ext>
            </a:extLst>
          </p:cNvPr>
          <p:cNvSpPr/>
          <p:nvPr/>
        </p:nvSpPr>
        <p:spPr>
          <a:xfrm>
            <a:off x="3721268" y="708687"/>
            <a:ext cx="1087564" cy="1377227"/>
          </a:xfrm>
          <a:custGeom>
            <a:avLst/>
            <a:gdLst>
              <a:gd name="csX0" fmla="*/ 930751 w 955043"/>
              <a:gd name="csY0" fmla="*/ 1207764 h 1209411"/>
              <a:gd name="csX1" fmla="*/ 591528 w 955043"/>
              <a:gd name="csY1" fmla="*/ 1059312 h 1209411"/>
              <a:gd name="csX2" fmla="*/ 171709 w 955043"/>
              <a:gd name="csY2" fmla="*/ 1135092 h 1209411"/>
              <a:gd name="csX3" fmla="*/ 143117 w 955043"/>
              <a:gd name="csY3" fmla="*/ 1123749 h 1209411"/>
              <a:gd name="csX4" fmla="*/ 0 w 955043"/>
              <a:gd name="csY4" fmla="*/ 933392 h 1209411"/>
              <a:gd name="csX5" fmla="*/ 800221 w 955043"/>
              <a:gd name="csY5" fmla="*/ 0 h 1209411"/>
              <a:gd name="csX6" fmla="*/ 955044 w 955043"/>
              <a:gd name="csY6" fmla="*/ 199731 h 1209411"/>
              <a:gd name="csX7" fmla="*/ 955044 w 955043"/>
              <a:gd name="csY7" fmla="*/ 1194660 h 1209411"/>
              <a:gd name="csX8" fmla="*/ 948621 w 955043"/>
              <a:gd name="csY8" fmla="*/ 1207246 h 1209411"/>
              <a:gd name="csX9" fmla="*/ 930751 w 955043"/>
              <a:gd name="csY9" fmla="*/ 1207816 h 12094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55043" h="1209411">
                <a:moveTo>
                  <a:pt x="930751" y="1207764"/>
                </a:moveTo>
                <a:lnTo>
                  <a:pt x="591528" y="1059312"/>
                </a:lnTo>
                <a:lnTo>
                  <a:pt x="171709" y="1135092"/>
                </a:lnTo>
                <a:cubicBezTo>
                  <a:pt x="160624" y="1137112"/>
                  <a:pt x="149850" y="1132710"/>
                  <a:pt x="143117" y="1123749"/>
                </a:cubicBezTo>
                <a:lnTo>
                  <a:pt x="0" y="933392"/>
                </a:lnTo>
                <a:lnTo>
                  <a:pt x="800221" y="0"/>
                </a:lnTo>
                <a:lnTo>
                  <a:pt x="955044" y="199731"/>
                </a:lnTo>
                <a:lnTo>
                  <a:pt x="955044" y="1194660"/>
                </a:lnTo>
                <a:cubicBezTo>
                  <a:pt x="955044" y="1202222"/>
                  <a:pt x="951263" y="1206987"/>
                  <a:pt x="948621" y="1207246"/>
                </a:cubicBezTo>
                <a:cubicBezTo>
                  <a:pt x="945979" y="1207505"/>
                  <a:pt x="939401" y="1211597"/>
                  <a:pt x="930751" y="1207816"/>
                </a:cubicBezTo>
                <a:close/>
              </a:path>
            </a:pathLst>
          </a:custGeom>
          <a:solidFill>
            <a:schemeClr val="accent2"/>
          </a:solidFill>
          <a:ln w="5174" cap="flat">
            <a:noFill/>
            <a:prstDash val="solid"/>
            <a:miter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EAAAEBB-C137-92CF-CD37-5DE38A5FA6BC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1" t="3912" r="20236" b="18287"/>
          <a:stretch>
            <a:fillRect/>
          </a:stretch>
        </p:blipFill>
        <p:spPr>
          <a:xfrm>
            <a:off x="3721268" y="763952"/>
            <a:ext cx="1087565" cy="1319275"/>
          </a:xfrm>
          <a:custGeom>
            <a:avLst/>
            <a:gdLst>
              <a:gd name="csX0" fmla="*/ 547818 w 1220528"/>
              <a:gd name="csY0" fmla="*/ 0 h 1480566"/>
              <a:gd name="csX1" fmla="*/ 823394 w 1220528"/>
              <a:gd name="csY1" fmla="*/ 114147 h 1480566"/>
              <a:gd name="csX2" fmla="*/ 847051 w 1220528"/>
              <a:gd name="csY2" fmla="*/ 142820 h 1480566"/>
              <a:gd name="csX3" fmla="*/ 902343 w 1220528"/>
              <a:gd name="csY3" fmla="*/ 78327 h 1480566"/>
              <a:gd name="csX4" fmla="*/ 1131460 w 1220528"/>
              <a:gd name="csY4" fmla="*/ 78327 h 1480566"/>
              <a:gd name="csX5" fmla="*/ 1220528 w 1220528"/>
              <a:gd name="csY5" fmla="*/ 193230 h 1480566"/>
              <a:gd name="csX6" fmla="*/ 1220528 w 1220528"/>
              <a:gd name="csY6" fmla="*/ 1464730 h 1480566"/>
              <a:gd name="csX7" fmla="*/ 1217690 w 1220528"/>
              <a:gd name="csY7" fmla="*/ 1476272 h 1480566"/>
              <a:gd name="csX8" fmla="*/ 1212613 w 1220528"/>
              <a:gd name="csY8" fmla="*/ 1480566 h 1480566"/>
              <a:gd name="csX9" fmla="*/ 1187403 w 1220528"/>
              <a:gd name="csY9" fmla="*/ 1480566 h 1480566"/>
              <a:gd name="csX10" fmla="*/ 755962 w 1220528"/>
              <a:gd name="csY10" fmla="*/ 1291758 h 1480566"/>
              <a:gd name="csX11" fmla="*/ 219441 w 1220528"/>
              <a:gd name="csY11" fmla="*/ 1388603 h 1480566"/>
              <a:gd name="csX12" fmla="*/ 182901 w 1220528"/>
              <a:gd name="csY12" fmla="*/ 1374107 h 1480566"/>
              <a:gd name="csX13" fmla="*/ 0 w 1220528"/>
              <a:gd name="csY13" fmla="*/ 1130834 h 1480566"/>
              <a:gd name="csX14" fmla="*/ 349299 w 1220528"/>
              <a:gd name="csY14" fmla="*/ 723406 h 1480566"/>
              <a:gd name="csX15" fmla="*/ 329920 w 1220528"/>
              <a:gd name="csY15" fmla="*/ 712888 h 1480566"/>
              <a:gd name="csX16" fmla="*/ 158095 w 1220528"/>
              <a:gd name="csY16" fmla="*/ 389723 h 1480566"/>
              <a:gd name="csX17" fmla="*/ 547818 w 1220528"/>
              <a:gd name="csY17" fmla="*/ 0 h 14805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1220528" h="1480566">
                <a:moveTo>
                  <a:pt x="547818" y="0"/>
                </a:moveTo>
                <a:cubicBezTo>
                  <a:pt x="655437" y="0"/>
                  <a:pt x="752868" y="43621"/>
                  <a:pt x="823394" y="114147"/>
                </a:cubicBezTo>
                <a:lnTo>
                  <a:pt x="847051" y="142820"/>
                </a:lnTo>
                <a:lnTo>
                  <a:pt x="902343" y="78327"/>
                </a:lnTo>
                <a:lnTo>
                  <a:pt x="1131460" y="78327"/>
                </a:lnTo>
                <a:lnTo>
                  <a:pt x="1220528" y="193230"/>
                </a:lnTo>
                <a:lnTo>
                  <a:pt x="1220528" y="1464730"/>
                </a:lnTo>
                <a:cubicBezTo>
                  <a:pt x="1220528" y="1469562"/>
                  <a:pt x="1219320" y="1473500"/>
                  <a:pt x="1217690" y="1476272"/>
                </a:cubicBezTo>
                <a:lnTo>
                  <a:pt x="1212613" y="1480566"/>
                </a:lnTo>
                <a:lnTo>
                  <a:pt x="1187403" y="1480566"/>
                </a:lnTo>
                <a:lnTo>
                  <a:pt x="755962" y="1291758"/>
                </a:lnTo>
                <a:lnTo>
                  <a:pt x="219441" y="1388603"/>
                </a:lnTo>
                <a:cubicBezTo>
                  <a:pt x="205275" y="1391185"/>
                  <a:pt x="191506" y="1385559"/>
                  <a:pt x="182901" y="1374107"/>
                </a:cubicBezTo>
                <a:lnTo>
                  <a:pt x="0" y="1130834"/>
                </a:lnTo>
                <a:lnTo>
                  <a:pt x="349299" y="723406"/>
                </a:lnTo>
                <a:lnTo>
                  <a:pt x="329920" y="712888"/>
                </a:lnTo>
                <a:cubicBezTo>
                  <a:pt x="226253" y="642852"/>
                  <a:pt x="158095" y="524247"/>
                  <a:pt x="158095" y="389723"/>
                </a:cubicBezTo>
                <a:cubicBezTo>
                  <a:pt x="158095" y="174485"/>
                  <a:pt x="332580" y="0"/>
                  <a:pt x="547818" y="0"/>
                </a:cubicBezTo>
                <a:close/>
              </a:path>
            </a:pathLst>
          </a:cu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F96D187-9E71-8E4E-F082-BC328FBA1876}"/>
              </a:ext>
            </a:extLst>
          </p:cNvPr>
          <p:cNvSpPr/>
          <p:nvPr/>
        </p:nvSpPr>
        <p:spPr>
          <a:xfrm>
            <a:off x="3740186" y="723252"/>
            <a:ext cx="1087564" cy="1377227"/>
          </a:xfrm>
          <a:custGeom>
            <a:avLst/>
            <a:gdLst>
              <a:gd name="csX0" fmla="*/ 930751 w 955043"/>
              <a:gd name="csY0" fmla="*/ 1207764 h 1209411"/>
              <a:gd name="csX1" fmla="*/ 591528 w 955043"/>
              <a:gd name="csY1" fmla="*/ 1059312 h 1209411"/>
              <a:gd name="csX2" fmla="*/ 171709 w 955043"/>
              <a:gd name="csY2" fmla="*/ 1135092 h 1209411"/>
              <a:gd name="csX3" fmla="*/ 143117 w 955043"/>
              <a:gd name="csY3" fmla="*/ 1123749 h 1209411"/>
              <a:gd name="csX4" fmla="*/ 0 w 955043"/>
              <a:gd name="csY4" fmla="*/ 933392 h 1209411"/>
              <a:gd name="csX5" fmla="*/ 800221 w 955043"/>
              <a:gd name="csY5" fmla="*/ 0 h 1209411"/>
              <a:gd name="csX6" fmla="*/ 955044 w 955043"/>
              <a:gd name="csY6" fmla="*/ 199731 h 1209411"/>
              <a:gd name="csX7" fmla="*/ 955044 w 955043"/>
              <a:gd name="csY7" fmla="*/ 1194660 h 1209411"/>
              <a:gd name="csX8" fmla="*/ 948621 w 955043"/>
              <a:gd name="csY8" fmla="*/ 1207246 h 1209411"/>
              <a:gd name="csX9" fmla="*/ 930751 w 955043"/>
              <a:gd name="csY9" fmla="*/ 1207816 h 12094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55043" h="1209411">
                <a:moveTo>
                  <a:pt x="930751" y="1207764"/>
                </a:moveTo>
                <a:lnTo>
                  <a:pt x="591528" y="1059312"/>
                </a:lnTo>
                <a:lnTo>
                  <a:pt x="171709" y="1135092"/>
                </a:lnTo>
                <a:cubicBezTo>
                  <a:pt x="160624" y="1137112"/>
                  <a:pt x="149850" y="1132710"/>
                  <a:pt x="143117" y="1123749"/>
                </a:cubicBezTo>
                <a:lnTo>
                  <a:pt x="0" y="933392"/>
                </a:lnTo>
                <a:lnTo>
                  <a:pt x="800221" y="0"/>
                </a:lnTo>
                <a:lnTo>
                  <a:pt x="955044" y="199731"/>
                </a:lnTo>
                <a:lnTo>
                  <a:pt x="955044" y="1194660"/>
                </a:lnTo>
                <a:cubicBezTo>
                  <a:pt x="955044" y="1202222"/>
                  <a:pt x="951263" y="1206987"/>
                  <a:pt x="948621" y="1207246"/>
                </a:cubicBezTo>
                <a:cubicBezTo>
                  <a:pt x="945979" y="1207505"/>
                  <a:pt x="939401" y="1211597"/>
                  <a:pt x="930751" y="120781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47000">
                <a:schemeClr val="accent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2E8B1D4-F4C3-F634-0657-EA5082AFA094}"/>
              </a:ext>
            </a:extLst>
          </p:cNvPr>
          <p:cNvSpPr txBox="1"/>
          <p:nvPr/>
        </p:nvSpPr>
        <p:spPr>
          <a:xfrm>
            <a:off x="5367246" y="1825164"/>
            <a:ext cx="2160240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>
                <a:solidFill>
                  <a:prstClr val="white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XXX-XXX-XX</a:t>
            </a:r>
            <a:endParaRPr lang="en-US" sz="1000" dirty="0">
              <a:solidFill>
                <a:prstClr val="white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883E7345-5740-AB47-5D8B-8CA0275879C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49503" y="1838297"/>
            <a:ext cx="127622" cy="1276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1114B055-2624-745C-82C6-78E0499EBE62}"/>
              </a:ext>
            </a:extLst>
          </p:cNvPr>
          <p:cNvSpPr txBox="1"/>
          <p:nvPr/>
        </p:nvSpPr>
        <p:spPr>
          <a:xfrm>
            <a:off x="5367246" y="1627824"/>
            <a:ext cx="2706473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am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A2AE953-131A-8E19-DFFB-0784424DC5E9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49503" y="1640957"/>
            <a:ext cx="127622" cy="12762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E447022-C507-D75D-8BE1-268DC8791658}"/>
              </a:ext>
            </a:extLst>
          </p:cNvPr>
          <p:cNvSpPr txBox="1">
            <a:spLocks/>
          </p:cNvSpPr>
          <p:nvPr/>
        </p:nvSpPr>
        <p:spPr>
          <a:xfrm>
            <a:off x="5149503" y="831416"/>
            <a:ext cx="249718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Prénom</a:t>
            </a:r>
            <a:r>
              <a:rPr kumimoji="0" lang="fr-FR" sz="2000" b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 Nom </a:t>
            </a:r>
            <a:endParaRPr kumimoji="0" lang="fr-FR" sz="2000" b="0" u="none" strike="noStrike" kern="1200" cap="none" spc="0" normalizeH="0" baseline="3000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A88A155-1DF7-0257-2860-CA60D4E9B7CD}"/>
              </a:ext>
            </a:extLst>
          </p:cNvPr>
          <p:cNvSpPr txBox="1"/>
          <p:nvPr/>
        </p:nvSpPr>
        <p:spPr>
          <a:xfrm>
            <a:off x="5149503" y="1242926"/>
            <a:ext cx="2083824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am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69D927E9-3E01-1CBF-1F33-7A39AF024538}"/>
              </a:ext>
            </a:extLst>
          </p:cNvPr>
          <p:cNvSpPr/>
          <p:nvPr/>
        </p:nvSpPr>
        <p:spPr>
          <a:xfrm>
            <a:off x="3721268" y="2629577"/>
            <a:ext cx="1087564" cy="1377227"/>
          </a:xfrm>
          <a:custGeom>
            <a:avLst/>
            <a:gdLst>
              <a:gd name="csX0" fmla="*/ 930751 w 955043"/>
              <a:gd name="csY0" fmla="*/ 1207764 h 1209411"/>
              <a:gd name="csX1" fmla="*/ 591528 w 955043"/>
              <a:gd name="csY1" fmla="*/ 1059312 h 1209411"/>
              <a:gd name="csX2" fmla="*/ 171709 w 955043"/>
              <a:gd name="csY2" fmla="*/ 1135092 h 1209411"/>
              <a:gd name="csX3" fmla="*/ 143117 w 955043"/>
              <a:gd name="csY3" fmla="*/ 1123749 h 1209411"/>
              <a:gd name="csX4" fmla="*/ 0 w 955043"/>
              <a:gd name="csY4" fmla="*/ 933392 h 1209411"/>
              <a:gd name="csX5" fmla="*/ 800221 w 955043"/>
              <a:gd name="csY5" fmla="*/ 0 h 1209411"/>
              <a:gd name="csX6" fmla="*/ 955044 w 955043"/>
              <a:gd name="csY6" fmla="*/ 199731 h 1209411"/>
              <a:gd name="csX7" fmla="*/ 955044 w 955043"/>
              <a:gd name="csY7" fmla="*/ 1194660 h 1209411"/>
              <a:gd name="csX8" fmla="*/ 948621 w 955043"/>
              <a:gd name="csY8" fmla="*/ 1207246 h 1209411"/>
              <a:gd name="csX9" fmla="*/ 930751 w 955043"/>
              <a:gd name="csY9" fmla="*/ 1207816 h 12094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55043" h="1209411">
                <a:moveTo>
                  <a:pt x="930751" y="1207764"/>
                </a:moveTo>
                <a:lnTo>
                  <a:pt x="591528" y="1059312"/>
                </a:lnTo>
                <a:lnTo>
                  <a:pt x="171709" y="1135092"/>
                </a:lnTo>
                <a:cubicBezTo>
                  <a:pt x="160624" y="1137112"/>
                  <a:pt x="149850" y="1132710"/>
                  <a:pt x="143117" y="1123749"/>
                </a:cubicBezTo>
                <a:lnTo>
                  <a:pt x="0" y="933392"/>
                </a:lnTo>
                <a:lnTo>
                  <a:pt x="800221" y="0"/>
                </a:lnTo>
                <a:lnTo>
                  <a:pt x="955044" y="199731"/>
                </a:lnTo>
                <a:lnTo>
                  <a:pt x="955044" y="1194660"/>
                </a:lnTo>
                <a:cubicBezTo>
                  <a:pt x="955044" y="1202222"/>
                  <a:pt x="951263" y="1206987"/>
                  <a:pt x="948621" y="1207246"/>
                </a:cubicBezTo>
                <a:cubicBezTo>
                  <a:pt x="945979" y="1207505"/>
                  <a:pt x="939401" y="1211597"/>
                  <a:pt x="930751" y="1207816"/>
                </a:cubicBezTo>
                <a:close/>
              </a:path>
            </a:pathLst>
          </a:custGeom>
          <a:solidFill>
            <a:schemeClr val="accent3"/>
          </a:solidFill>
          <a:ln w="5174" cap="flat">
            <a:noFill/>
            <a:prstDash val="solid"/>
            <a:miter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75" name="Picture 174">
            <a:extLst>
              <a:ext uri="{FF2B5EF4-FFF2-40B4-BE49-F238E27FC236}">
                <a16:creationId xmlns:a16="http://schemas.microsoft.com/office/drawing/2014/main" id="{68B17A9F-7D5E-EC7B-8E0F-C69B9DA3615B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1" t="3912" r="20236" b="18287"/>
          <a:stretch>
            <a:fillRect/>
          </a:stretch>
        </p:blipFill>
        <p:spPr>
          <a:xfrm>
            <a:off x="3721268" y="2684842"/>
            <a:ext cx="1087565" cy="1319275"/>
          </a:xfrm>
          <a:custGeom>
            <a:avLst/>
            <a:gdLst>
              <a:gd name="csX0" fmla="*/ 547818 w 1220528"/>
              <a:gd name="csY0" fmla="*/ 0 h 1480566"/>
              <a:gd name="csX1" fmla="*/ 823394 w 1220528"/>
              <a:gd name="csY1" fmla="*/ 114147 h 1480566"/>
              <a:gd name="csX2" fmla="*/ 847051 w 1220528"/>
              <a:gd name="csY2" fmla="*/ 142820 h 1480566"/>
              <a:gd name="csX3" fmla="*/ 902343 w 1220528"/>
              <a:gd name="csY3" fmla="*/ 78327 h 1480566"/>
              <a:gd name="csX4" fmla="*/ 1131460 w 1220528"/>
              <a:gd name="csY4" fmla="*/ 78327 h 1480566"/>
              <a:gd name="csX5" fmla="*/ 1220528 w 1220528"/>
              <a:gd name="csY5" fmla="*/ 193230 h 1480566"/>
              <a:gd name="csX6" fmla="*/ 1220528 w 1220528"/>
              <a:gd name="csY6" fmla="*/ 1464730 h 1480566"/>
              <a:gd name="csX7" fmla="*/ 1217690 w 1220528"/>
              <a:gd name="csY7" fmla="*/ 1476272 h 1480566"/>
              <a:gd name="csX8" fmla="*/ 1212613 w 1220528"/>
              <a:gd name="csY8" fmla="*/ 1480566 h 1480566"/>
              <a:gd name="csX9" fmla="*/ 1187403 w 1220528"/>
              <a:gd name="csY9" fmla="*/ 1480566 h 1480566"/>
              <a:gd name="csX10" fmla="*/ 755962 w 1220528"/>
              <a:gd name="csY10" fmla="*/ 1291758 h 1480566"/>
              <a:gd name="csX11" fmla="*/ 219441 w 1220528"/>
              <a:gd name="csY11" fmla="*/ 1388603 h 1480566"/>
              <a:gd name="csX12" fmla="*/ 182901 w 1220528"/>
              <a:gd name="csY12" fmla="*/ 1374107 h 1480566"/>
              <a:gd name="csX13" fmla="*/ 0 w 1220528"/>
              <a:gd name="csY13" fmla="*/ 1130834 h 1480566"/>
              <a:gd name="csX14" fmla="*/ 349299 w 1220528"/>
              <a:gd name="csY14" fmla="*/ 723406 h 1480566"/>
              <a:gd name="csX15" fmla="*/ 329920 w 1220528"/>
              <a:gd name="csY15" fmla="*/ 712888 h 1480566"/>
              <a:gd name="csX16" fmla="*/ 158095 w 1220528"/>
              <a:gd name="csY16" fmla="*/ 389723 h 1480566"/>
              <a:gd name="csX17" fmla="*/ 547818 w 1220528"/>
              <a:gd name="csY17" fmla="*/ 0 h 14805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1220528" h="1480566">
                <a:moveTo>
                  <a:pt x="547818" y="0"/>
                </a:moveTo>
                <a:cubicBezTo>
                  <a:pt x="655437" y="0"/>
                  <a:pt x="752868" y="43621"/>
                  <a:pt x="823394" y="114147"/>
                </a:cubicBezTo>
                <a:lnTo>
                  <a:pt x="847051" y="142820"/>
                </a:lnTo>
                <a:lnTo>
                  <a:pt x="902343" y="78327"/>
                </a:lnTo>
                <a:lnTo>
                  <a:pt x="1131460" y="78327"/>
                </a:lnTo>
                <a:lnTo>
                  <a:pt x="1220528" y="193230"/>
                </a:lnTo>
                <a:lnTo>
                  <a:pt x="1220528" y="1464730"/>
                </a:lnTo>
                <a:cubicBezTo>
                  <a:pt x="1220528" y="1469562"/>
                  <a:pt x="1219320" y="1473500"/>
                  <a:pt x="1217690" y="1476272"/>
                </a:cubicBezTo>
                <a:lnTo>
                  <a:pt x="1212613" y="1480566"/>
                </a:lnTo>
                <a:lnTo>
                  <a:pt x="1187403" y="1480566"/>
                </a:lnTo>
                <a:lnTo>
                  <a:pt x="755962" y="1291758"/>
                </a:lnTo>
                <a:lnTo>
                  <a:pt x="219441" y="1388603"/>
                </a:lnTo>
                <a:cubicBezTo>
                  <a:pt x="205275" y="1391185"/>
                  <a:pt x="191506" y="1385559"/>
                  <a:pt x="182901" y="1374107"/>
                </a:cubicBezTo>
                <a:lnTo>
                  <a:pt x="0" y="1130834"/>
                </a:lnTo>
                <a:lnTo>
                  <a:pt x="349299" y="723406"/>
                </a:lnTo>
                <a:lnTo>
                  <a:pt x="329920" y="712888"/>
                </a:lnTo>
                <a:cubicBezTo>
                  <a:pt x="226253" y="642852"/>
                  <a:pt x="158095" y="524247"/>
                  <a:pt x="158095" y="389723"/>
                </a:cubicBezTo>
                <a:cubicBezTo>
                  <a:pt x="158095" y="174485"/>
                  <a:pt x="332580" y="0"/>
                  <a:pt x="547818" y="0"/>
                </a:cubicBezTo>
                <a:close/>
              </a:path>
            </a:pathLst>
          </a:custGeom>
        </p:spPr>
      </p:pic>
      <p:sp>
        <p:nvSpPr>
          <p:cNvPr id="176" name="Freeform: Shape 175">
            <a:extLst>
              <a:ext uri="{FF2B5EF4-FFF2-40B4-BE49-F238E27FC236}">
                <a16:creationId xmlns:a16="http://schemas.microsoft.com/office/drawing/2014/main" id="{8A41B006-FD98-E4A8-D6EC-BA7334CB24F8}"/>
              </a:ext>
            </a:extLst>
          </p:cNvPr>
          <p:cNvSpPr/>
          <p:nvPr/>
        </p:nvSpPr>
        <p:spPr>
          <a:xfrm>
            <a:off x="3721268" y="2629577"/>
            <a:ext cx="1087564" cy="1377227"/>
          </a:xfrm>
          <a:custGeom>
            <a:avLst/>
            <a:gdLst>
              <a:gd name="csX0" fmla="*/ 930751 w 955043"/>
              <a:gd name="csY0" fmla="*/ 1207764 h 1209411"/>
              <a:gd name="csX1" fmla="*/ 591528 w 955043"/>
              <a:gd name="csY1" fmla="*/ 1059312 h 1209411"/>
              <a:gd name="csX2" fmla="*/ 171709 w 955043"/>
              <a:gd name="csY2" fmla="*/ 1135092 h 1209411"/>
              <a:gd name="csX3" fmla="*/ 143117 w 955043"/>
              <a:gd name="csY3" fmla="*/ 1123749 h 1209411"/>
              <a:gd name="csX4" fmla="*/ 0 w 955043"/>
              <a:gd name="csY4" fmla="*/ 933392 h 1209411"/>
              <a:gd name="csX5" fmla="*/ 800221 w 955043"/>
              <a:gd name="csY5" fmla="*/ 0 h 1209411"/>
              <a:gd name="csX6" fmla="*/ 955044 w 955043"/>
              <a:gd name="csY6" fmla="*/ 199731 h 1209411"/>
              <a:gd name="csX7" fmla="*/ 955044 w 955043"/>
              <a:gd name="csY7" fmla="*/ 1194660 h 1209411"/>
              <a:gd name="csX8" fmla="*/ 948621 w 955043"/>
              <a:gd name="csY8" fmla="*/ 1207246 h 1209411"/>
              <a:gd name="csX9" fmla="*/ 930751 w 955043"/>
              <a:gd name="csY9" fmla="*/ 1207816 h 120941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955043" h="1209411">
                <a:moveTo>
                  <a:pt x="930751" y="1207764"/>
                </a:moveTo>
                <a:lnTo>
                  <a:pt x="591528" y="1059312"/>
                </a:lnTo>
                <a:lnTo>
                  <a:pt x="171709" y="1135092"/>
                </a:lnTo>
                <a:cubicBezTo>
                  <a:pt x="160624" y="1137112"/>
                  <a:pt x="149850" y="1132710"/>
                  <a:pt x="143117" y="1123749"/>
                </a:cubicBezTo>
                <a:lnTo>
                  <a:pt x="0" y="933392"/>
                </a:lnTo>
                <a:lnTo>
                  <a:pt x="800221" y="0"/>
                </a:lnTo>
                <a:lnTo>
                  <a:pt x="955044" y="199731"/>
                </a:lnTo>
                <a:lnTo>
                  <a:pt x="955044" y="1194660"/>
                </a:lnTo>
                <a:cubicBezTo>
                  <a:pt x="955044" y="1202222"/>
                  <a:pt x="951263" y="1206987"/>
                  <a:pt x="948621" y="1207246"/>
                </a:cubicBezTo>
                <a:cubicBezTo>
                  <a:pt x="945979" y="1207505"/>
                  <a:pt x="939401" y="1211597"/>
                  <a:pt x="930751" y="120781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47000">
                <a:schemeClr val="accent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09F7C80-5D24-FA93-4EF4-D0E6EA1C6EB4}"/>
              </a:ext>
            </a:extLst>
          </p:cNvPr>
          <p:cNvSpPr/>
          <p:nvPr/>
        </p:nvSpPr>
        <p:spPr>
          <a:xfrm>
            <a:off x="0" y="0"/>
            <a:ext cx="3994499" cy="2954241"/>
          </a:xfrm>
          <a:custGeom>
            <a:avLst/>
            <a:gdLst>
              <a:gd name="csX0" fmla="*/ 1295515 w 3994499"/>
              <a:gd name="csY0" fmla="*/ 1380130 h 2954241"/>
              <a:gd name="csX1" fmla="*/ 790120 w 3994499"/>
              <a:gd name="csY1" fmla="*/ 2363087 h 2954241"/>
              <a:gd name="csX2" fmla="*/ 3136172 w 3994499"/>
              <a:gd name="csY2" fmla="*/ 2393069 h 2954241"/>
              <a:gd name="csX3" fmla="*/ 3229640 w 3994499"/>
              <a:gd name="csY3" fmla="*/ 2346163 h 2954241"/>
              <a:gd name="csX4" fmla="*/ 3738213 w 3994499"/>
              <a:gd name="csY4" fmla="*/ 1380130 h 2954241"/>
              <a:gd name="csX5" fmla="*/ 2176400 w 3994499"/>
              <a:gd name="csY5" fmla="*/ 0 h 2954241"/>
              <a:gd name="csX6" fmla="*/ 2484870 w 3994499"/>
              <a:gd name="csY6" fmla="*/ 0 h 2954241"/>
              <a:gd name="csX7" fmla="*/ 3964666 w 3994499"/>
              <a:gd name="csY7" fmla="*/ 1139245 h 2954241"/>
              <a:gd name="csX8" fmla="*/ 3969219 w 3994499"/>
              <a:gd name="csY8" fmla="*/ 1344651 h 2954241"/>
              <a:gd name="csX9" fmla="*/ 3316836 w 3994499"/>
              <a:gd name="csY9" fmla="*/ 2517721 h 2954241"/>
              <a:gd name="csX10" fmla="*/ 669591 w 3994499"/>
              <a:gd name="csY10" fmla="*/ 2537823 h 2954241"/>
              <a:gd name="csX11" fmla="*/ 0 w 3994499"/>
              <a:gd name="csY11" fmla="*/ 2954241 h 2954241"/>
              <a:gd name="csX12" fmla="*/ 0 w 3994499"/>
              <a:gd name="csY12" fmla="*/ 2749000 h 2954241"/>
              <a:gd name="csX13" fmla="*/ 562808 w 3994499"/>
              <a:gd name="csY13" fmla="*/ 2402862 h 2954241"/>
              <a:gd name="csX14" fmla="*/ 1014596 w 3994499"/>
              <a:gd name="csY14" fmla="*/ 1576945 h 2954241"/>
              <a:gd name="csX15" fmla="*/ 865976 w 3994499"/>
              <a:gd name="csY15" fmla="*/ 1638627 h 2954241"/>
              <a:gd name="csX16" fmla="*/ 122155 w 3994499"/>
              <a:gd name="csY16" fmla="*/ 2102539 h 2954241"/>
              <a:gd name="csX17" fmla="*/ 0 w 3994499"/>
              <a:gd name="csY17" fmla="*/ 2180812 h 2954241"/>
              <a:gd name="csX18" fmla="*/ 0 w 3994499"/>
              <a:gd name="csY18" fmla="*/ 1993982 h 2954241"/>
              <a:gd name="csX19" fmla="*/ 1259261 w 3994499"/>
              <a:gd name="csY19" fmla="*/ 1217421 h 2954241"/>
              <a:gd name="csX20" fmla="*/ 3794311 w 3994499"/>
              <a:gd name="csY20" fmla="*/ 1239328 h 295424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3994499" h="2954241">
                <a:moveTo>
                  <a:pt x="1295515" y="1380130"/>
                </a:moveTo>
                <a:lnTo>
                  <a:pt x="790120" y="2363087"/>
                </a:lnTo>
                <a:lnTo>
                  <a:pt x="3136172" y="2393069"/>
                </a:lnTo>
                <a:lnTo>
                  <a:pt x="3229640" y="2346163"/>
                </a:lnTo>
                <a:lnTo>
                  <a:pt x="3738213" y="1380130"/>
                </a:lnTo>
                <a:close/>
                <a:moveTo>
                  <a:pt x="2176400" y="0"/>
                </a:moveTo>
                <a:lnTo>
                  <a:pt x="2484870" y="0"/>
                </a:lnTo>
                <a:lnTo>
                  <a:pt x="3964666" y="1139245"/>
                </a:lnTo>
                <a:cubicBezTo>
                  <a:pt x="4009767" y="1199381"/>
                  <a:pt x="3997397" y="1280048"/>
                  <a:pt x="3969219" y="1344651"/>
                </a:cubicBezTo>
                <a:lnTo>
                  <a:pt x="3316836" y="2517721"/>
                </a:lnTo>
                <a:lnTo>
                  <a:pt x="669591" y="2537823"/>
                </a:lnTo>
                <a:lnTo>
                  <a:pt x="0" y="2954241"/>
                </a:lnTo>
                <a:lnTo>
                  <a:pt x="0" y="2749000"/>
                </a:lnTo>
                <a:lnTo>
                  <a:pt x="562808" y="2402862"/>
                </a:lnTo>
                <a:lnTo>
                  <a:pt x="1014596" y="1576945"/>
                </a:lnTo>
                <a:cubicBezTo>
                  <a:pt x="995009" y="1557959"/>
                  <a:pt x="892951" y="1623507"/>
                  <a:pt x="865976" y="1638627"/>
                </a:cubicBezTo>
                <a:cubicBezTo>
                  <a:pt x="613880" y="1780332"/>
                  <a:pt x="368442" y="1941881"/>
                  <a:pt x="122155" y="2102539"/>
                </a:cubicBezTo>
                <a:lnTo>
                  <a:pt x="0" y="2180812"/>
                </a:lnTo>
                <a:lnTo>
                  <a:pt x="0" y="1993982"/>
                </a:lnTo>
                <a:lnTo>
                  <a:pt x="1259261" y="1217421"/>
                </a:lnTo>
                <a:lnTo>
                  <a:pt x="3794311" y="1239328"/>
                </a:ln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968E1B-6590-1474-4AAF-A5661CABA7AB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7F2BC0D-5A0C-E7FD-0D19-62C1A13FBCC8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8A6F08-E974-E226-D47E-ADA906A01B13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6" name="Graphic 2">
              <a:extLst>
                <a:ext uri="{FF2B5EF4-FFF2-40B4-BE49-F238E27FC236}">
                  <a16:creationId xmlns:a16="http://schemas.microsoft.com/office/drawing/2014/main" id="{B5BBB611-E737-2540-F535-E88B12566780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EB012592-1B55-413A-4898-C51935D01505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66B46E1C-1195-283E-D8F5-5C8C42126672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2">
              <a:extLst>
                <a:ext uri="{FF2B5EF4-FFF2-40B4-BE49-F238E27FC236}">
                  <a16:creationId xmlns:a16="http://schemas.microsoft.com/office/drawing/2014/main" id="{C59657DC-E4B2-D264-8D68-BD6FBA5FB66C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8261A4F8-60C4-E531-00E3-9A3D74D40219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26D59B1D-C371-2EE5-F194-9111EF4A754E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0C639BCA-6890-A107-F8A4-B711BD05C7AB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1A7DCEBE-A76B-2798-2F24-7D29B62E8EEF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aphic 2">
              <a:extLst>
                <a:ext uri="{FF2B5EF4-FFF2-40B4-BE49-F238E27FC236}">
                  <a16:creationId xmlns:a16="http://schemas.microsoft.com/office/drawing/2014/main" id="{312D5D36-30DC-C79F-F8B9-ADEA1A449D92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F98A4014-78C8-CC07-55F0-BE4E8BD52067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3C3151B-9B05-274C-47D0-94638EBB4772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E34E3BF2-1A55-A470-6CB4-9BEF8FC8FB19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5EDDD387-031E-A476-2352-5F49FC1DA726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910FC45-9AF2-B124-0B5F-F657C134997D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3FEB7F9-8053-B670-7678-3C28EB22FDC7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6263983-5C32-068A-AC59-8372CD8AE464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9EA001B-A6D8-FA3B-1E18-50ED71EBA6A5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8FB405F-C1F7-F8A5-19E1-C7F7E02833B7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9" name="Graphic 2">
              <a:extLst>
                <a:ext uri="{FF2B5EF4-FFF2-40B4-BE49-F238E27FC236}">
                  <a16:creationId xmlns:a16="http://schemas.microsoft.com/office/drawing/2014/main" id="{BB610AD9-037B-BFD7-DF40-5DD821E42D20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779AAF8F-1A72-D0D0-82FE-8463A2F2A44A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21AF3AC7-CD23-79AE-EF50-F30D01871017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F5B4851-FFA4-E621-C656-62FBD6718F8C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C99D58D-F316-54D8-E2EC-36215F40100D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22" name="Graphic 2">
              <a:extLst>
                <a:ext uri="{FF2B5EF4-FFF2-40B4-BE49-F238E27FC236}">
                  <a16:creationId xmlns:a16="http://schemas.microsoft.com/office/drawing/2014/main" id="{FD0BE3EE-F781-DD87-DC82-E53EF26A1C0E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EA150992-0256-9AF2-8298-13205A6F3DE6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4F69FCF-EF7F-7E00-D189-2288CD4325A7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FEF392ED-ED45-93D5-EC8C-A442FD5F6E57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4927948-4EB0-F535-1195-FF957BBE2FF2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DC57391D-3F55-B67B-979D-9CF480178934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4031CC2-91F8-68F4-7DBE-EC8F504429A4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9EEE108-EB2C-D8B6-900B-D90B6478E44B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BCB115F-ADBF-3969-53DC-961787A60281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1C7E926-4A33-9568-9D29-18B83FD9340B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D27FDDBC-9F08-6932-4FBC-5FE319BCD837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BF53141-F385-61D9-9A5E-65120CF4CEEC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75810AC-F866-A465-AB12-2A724A8DE132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BC4E5285-384C-CADA-FCD1-C2B43EE03F94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38" name="Graphic 2">
                <a:extLst>
                  <a:ext uri="{FF2B5EF4-FFF2-40B4-BE49-F238E27FC236}">
                    <a16:creationId xmlns:a16="http://schemas.microsoft.com/office/drawing/2014/main" id="{5E6990F0-70EA-99CD-CDCD-F8D6C6A5730E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9F3E13A7-9247-FBE2-C6FA-DE4D05F4B8BE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78EADB79-4553-375D-4062-E7D3BE8B0290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515182C5-EE6D-9735-3544-430C4C21CBD4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40" name="Graphic 2">
                <a:extLst>
                  <a:ext uri="{FF2B5EF4-FFF2-40B4-BE49-F238E27FC236}">
                    <a16:creationId xmlns:a16="http://schemas.microsoft.com/office/drawing/2014/main" id="{5109FC42-3BAE-D7EA-F02D-0A572C1843FE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B39B6D00-15E3-643F-B43C-C793412B7CA4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58" name="Graphic 2">
                  <a:extLst>
                    <a:ext uri="{FF2B5EF4-FFF2-40B4-BE49-F238E27FC236}">
                      <a16:creationId xmlns:a16="http://schemas.microsoft.com/office/drawing/2014/main" id="{19892B02-2A4A-A62E-98A9-15188014C4AF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F060321F-D340-B708-5097-05AEFF0E3A5D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CFD64FB5-1C67-7E4C-5930-F1CB68C20A77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E234A41E-FDCD-BB51-7FF3-E03C68938B4B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4D864945-DC44-5541-D155-A23CC2EB839E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1" name="Graphic 2">
                  <a:extLst>
                    <a:ext uri="{FF2B5EF4-FFF2-40B4-BE49-F238E27FC236}">
                      <a16:creationId xmlns:a16="http://schemas.microsoft.com/office/drawing/2014/main" id="{86373CC4-E92B-BBA0-A431-25D6870B0CE2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C91C6855-DB36-8E7F-0CD3-77A8866657A7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61138793-EB6D-8B1A-DB7B-277974C057A5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: Shape 67">
                    <a:extLst>
                      <a:ext uri="{FF2B5EF4-FFF2-40B4-BE49-F238E27FC236}">
                        <a16:creationId xmlns:a16="http://schemas.microsoft.com/office/drawing/2014/main" id="{F822A122-44FA-AB64-BE2F-CA545F2D1FD3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DF2EDA0-858B-34A8-D91B-120ABF03BEBD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ED6F3B29-AD31-5413-BC6B-BD46E08CBCE3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8C8B8088-0C74-5202-D792-86FE28A1112B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A2D44AE3-6501-4209-D837-AEEBF4D22362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53403C0F-FA94-B57B-5D98-F303F94C8068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44" name="Graphic 2">
                <a:extLst>
                  <a:ext uri="{FF2B5EF4-FFF2-40B4-BE49-F238E27FC236}">
                    <a16:creationId xmlns:a16="http://schemas.microsoft.com/office/drawing/2014/main" id="{28780E15-EE93-CDEA-4E6E-2C2C876A5ED6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46985C19-4F0C-6DE2-9486-2A60AF109417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8B9C5411-96A5-9207-0F12-332C81CAC8C0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D1526571-46A8-69C4-4337-F92A0CD046CF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146E143B-8DBE-EB9A-E5AD-2C886630658E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B2F22C61-E029-124A-1C8B-6B6C80DE110C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FC1A2C50-6478-DC21-7BB2-6CCC90806BF8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03643BC6-8514-BDB6-CA73-E11879DEA298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A4611004-5BAC-2228-3FAC-429852BD31C9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A4A575C5-183D-15DA-E9B3-760DA1DA353C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E54C79FD-473E-4239-1947-2F101856C443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8661DC83-7BB4-D81D-981A-8BDF3443345B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E0E7DDF7-9E2F-844A-EFAC-E9EBC0333365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70" name="TextBox 169">
            <a:extLst>
              <a:ext uri="{FF2B5EF4-FFF2-40B4-BE49-F238E27FC236}">
                <a16:creationId xmlns:a16="http://schemas.microsoft.com/office/drawing/2014/main" id="{FBF6D0BE-7D7B-0B9C-BB6E-133894C7B8DC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4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1" name="Graphic 170">
            <a:extLst>
              <a:ext uri="{FF2B5EF4-FFF2-40B4-BE49-F238E27FC236}">
                <a16:creationId xmlns:a16="http://schemas.microsoft.com/office/drawing/2014/main" id="{5B1C126B-7B08-96E9-D4C8-A39A444FC1C9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2" name="TextBox 171">
            <a:extLst>
              <a:ext uri="{FF2B5EF4-FFF2-40B4-BE49-F238E27FC236}">
                <a16:creationId xmlns:a16="http://schemas.microsoft.com/office/drawing/2014/main" id="{772E537E-4D74-2D34-6FE9-9B64BF971FCD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C6F2048A-FA8A-6B71-F827-2A2F06A23030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18/03/2026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1C83D0FC-4BEB-F0DE-A318-AC8343880572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41DB19D-A2DC-3EC6-3A2F-7EC17BCF19F5}"/>
              </a:ext>
            </a:extLst>
          </p:cNvPr>
          <p:cNvCxnSpPr>
            <a:cxnSpLocks/>
          </p:cNvCxnSpPr>
          <p:nvPr/>
        </p:nvCxnSpPr>
        <p:spPr>
          <a:xfrm>
            <a:off x="5149503" y="1512319"/>
            <a:ext cx="1870769" cy="0"/>
          </a:xfrm>
          <a:prstGeom prst="line">
            <a:avLst/>
          </a:prstGeom>
          <a:ln w="9525">
            <a:solidFill>
              <a:schemeClr val="bg1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1E94B471-B7C9-CAC7-D543-6C604A911694}"/>
              </a:ext>
            </a:extLst>
          </p:cNvPr>
          <p:cNvSpPr txBox="1"/>
          <p:nvPr/>
        </p:nvSpPr>
        <p:spPr>
          <a:xfrm>
            <a:off x="5367246" y="3799500"/>
            <a:ext cx="2160240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>
                <a:solidFill>
                  <a:prstClr val="white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XXX-XXX-XX</a:t>
            </a:r>
            <a:endParaRPr lang="en-US" sz="1000" dirty="0">
              <a:solidFill>
                <a:prstClr val="white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92" name="Graphic 191">
            <a:extLst>
              <a:ext uri="{FF2B5EF4-FFF2-40B4-BE49-F238E27FC236}">
                <a16:creationId xmlns:a16="http://schemas.microsoft.com/office/drawing/2014/main" id="{AB377DEF-5EFF-1D7F-4285-998A2E2BE40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49503" y="3812633"/>
            <a:ext cx="127622" cy="127622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3B3C880E-19AF-3347-3D69-F4D715665BA5}"/>
              </a:ext>
            </a:extLst>
          </p:cNvPr>
          <p:cNvSpPr txBox="1"/>
          <p:nvPr/>
        </p:nvSpPr>
        <p:spPr>
          <a:xfrm>
            <a:off x="5367246" y="3602160"/>
            <a:ext cx="2706473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am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94" name="Graphic 193">
            <a:extLst>
              <a:ext uri="{FF2B5EF4-FFF2-40B4-BE49-F238E27FC236}">
                <a16:creationId xmlns:a16="http://schemas.microsoft.com/office/drawing/2014/main" id="{23E3F384-1636-5D3D-945F-E0EEDCD57F96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49503" y="3615293"/>
            <a:ext cx="127622" cy="127622"/>
          </a:xfrm>
          <a:prstGeom prst="rect">
            <a:avLst/>
          </a:prstGeom>
        </p:spPr>
      </p:pic>
      <p:sp>
        <p:nvSpPr>
          <p:cNvPr id="195" name="TextBox 194">
            <a:extLst>
              <a:ext uri="{FF2B5EF4-FFF2-40B4-BE49-F238E27FC236}">
                <a16:creationId xmlns:a16="http://schemas.microsoft.com/office/drawing/2014/main" id="{8B5ADFC0-A67E-C4CB-EB85-B2E1919E2D7E}"/>
              </a:ext>
            </a:extLst>
          </p:cNvPr>
          <p:cNvSpPr txBox="1">
            <a:spLocks/>
          </p:cNvSpPr>
          <p:nvPr/>
        </p:nvSpPr>
        <p:spPr>
          <a:xfrm>
            <a:off x="5149503" y="2805752"/>
            <a:ext cx="249718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fr-FR" sz="20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Prénom</a:t>
            </a:r>
            <a:r>
              <a:rPr lang="fr-FR" sz="2000" noProof="1">
                <a:solidFill>
                  <a:prstClr val="white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 Nom </a:t>
            </a:r>
            <a:endParaRPr lang="fr-FR" sz="2000" baseline="30000" noProof="1">
              <a:solidFill>
                <a:prstClr val="white"/>
              </a:solidFill>
              <a:latin typeface="Rift Demi" panose="00000500000000000000" pitchFamily="50" charset="0"/>
              <a:cs typeface="Circular Std Bold" panose="020B0804020101010102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45438B0A-445E-4150-680F-63AD2D99CF9B}"/>
              </a:ext>
            </a:extLst>
          </p:cNvPr>
          <p:cNvSpPr txBox="1"/>
          <p:nvPr/>
        </p:nvSpPr>
        <p:spPr>
          <a:xfrm>
            <a:off x="5149503" y="3217262"/>
            <a:ext cx="2083824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Lorem ipsum dolor sit am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2E9C6EBB-8C53-B021-DBA8-F13110A77273}"/>
              </a:ext>
            </a:extLst>
          </p:cNvPr>
          <p:cNvCxnSpPr>
            <a:cxnSpLocks/>
          </p:cNvCxnSpPr>
          <p:nvPr/>
        </p:nvCxnSpPr>
        <p:spPr>
          <a:xfrm>
            <a:off x="5149503" y="3486655"/>
            <a:ext cx="1870769" cy="0"/>
          </a:xfrm>
          <a:prstGeom prst="line">
            <a:avLst/>
          </a:prstGeom>
          <a:ln w="9525">
            <a:solidFill>
              <a:schemeClr val="bg1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2FB6D808-834B-09AF-99CA-1B99DBB5CA10}"/>
              </a:ext>
            </a:extLst>
          </p:cNvPr>
          <p:cNvSpPr txBox="1">
            <a:spLocks/>
          </p:cNvSpPr>
          <p:nvPr/>
        </p:nvSpPr>
        <p:spPr>
          <a:xfrm>
            <a:off x="2152044" y="2427067"/>
            <a:ext cx="1290658" cy="52480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u="none" strike="noStrike" kern="1200" cap="none" spc="0" normalizeH="0" baseline="0" noProof="0" dirty="0">
                <a:ln>
                  <a:noFill/>
                </a:ln>
                <a:solidFill>
                  <a:srgbClr val="2D0F64">
                    <a:lumMod val="40000"/>
                    <a:lumOff val="6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nous</a:t>
            </a:r>
          </a:p>
        </p:txBody>
      </p:sp>
    </p:spTree>
    <p:extLst>
      <p:ext uri="{BB962C8B-B14F-4D97-AF65-F5344CB8AC3E}">
        <p14:creationId xmlns:p14="http://schemas.microsoft.com/office/powerpoint/2010/main" val="8660811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A300D6-2601-F88A-4B67-F0910AFEE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c 2">
            <a:extLst>
              <a:ext uri="{FF2B5EF4-FFF2-40B4-BE49-F238E27FC236}">
                <a16:creationId xmlns:a16="http://schemas.microsoft.com/office/drawing/2014/main" id="{C702DAF2-4CA8-E3EC-349A-24DAFCCD1B28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12E225C1-0592-1202-3B14-377F661D64BF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85B5EE9-9560-3EF5-181D-13E8BD4D098B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3CE6D3-DE55-1121-D46E-CAB1C1B89CF9}"/>
              </a:ext>
            </a:extLst>
          </p:cNvPr>
          <p:cNvSpPr txBox="1"/>
          <p:nvPr/>
        </p:nvSpPr>
        <p:spPr>
          <a:xfrm>
            <a:off x="1583160" y="1686893"/>
            <a:ext cx="5977680" cy="17697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+mn-cs"/>
              </a:rPr>
              <a:t>ANNEX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7B4CF53-A5E5-2189-C4E8-3C9B8CB87AF9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1B03981-CE3F-B1ED-4F7D-1ECABFF3F593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36F4F29-1CC9-BFCF-8F41-645AD02D4EAC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262386F-F6EE-C49B-C328-A1E3491BB1C8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AFFA724-1E27-4442-5C03-9BB6AD4DDA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3727054"/>
            <a:ext cx="864096" cy="61938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4CBD294-3F0D-A709-80C8-D1321FFE3F4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516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2F156A-B039-DEF5-D210-D513B5503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432C4F-531E-FD82-65AA-316A35E49720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E1504A-4848-9A9B-4D92-E77A76FAB03A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9AF919-EFC2-9538-EF8F-A56DE5C644E9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4C487B5-02A7-B80E-049F-E6178FF0A7E1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CC7725BC-3310-2140-CC5F-13E31738ED0C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EB39FE84-4BD2-7376-C30F-D1202146B28B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9088D332-2A40-6601-0C14-FFE28A7BC561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2">
              <a:extLst>
                <a:ext uri="{FF2B5EF4-FFF2-40B4-BE49-F238E27FC236}">
                  <a16:creationId xmlns:a16="http://schemas.microsoft.com/office/drawing/2014/main" id="{198BC486-FDF5-4617-E68A-9139E57CDC6C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66B26EC3-D17B-9E41-97BE-6239D18FD985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9BABDBE5-7715-4DAF-9A84-6D739F936B21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1D493C15-382A-4558-F7E1-E59C9825E023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50881B25-99EE-3B46-221B-08F5986382C1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6" name="Graphic 2">
              <a:extLst>
                <a:ext uri="{FF2B5EF4-FFF2-40B4-BE49-F238E27FC236}">
                  <a16:creationId xmlns:a16="http://schemas.microsoft.com/office/drawing/2014/main" id="{733F51DF-0EA1-D848-C1ED-2A331EF4F22A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D7EE08B9-2E5E-91C8-CEE8-8DF991D9492F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FCA6B1BE-AAAF-60CF-94B5-A25B16498A5C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27128A18-3229-5A98-C496-EF4B70D42AF9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9460EB57-5DEC-1E16-DCE8-B6D47E087685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573EAA0-0A76-E425-3017-CE8108498B44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32D3F414-5FB9-2171-3617-8544C70EE39B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7DED49B-5099-CB1D-58BB-0C65379FFED6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243A4D6-5E58-FD95-ECDC-66D5E50D76B7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C846695-E942-6CED-9B94-0DB66E9D1DDD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2" name="Graphic 2">
              <a:extLst>
                <a:ext uri="{FF2B5EF4-FFF2-40B4-BE49-F238E27FC236}">
                  <a16:creationId xmlns:a16="http://schemas.microsoft.com/office/drawing/2014/main" id="{FFAEFF88-233E-71D5-CC3C-0AD06CDAFF63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CC51024F-018F-8BF6-CC43-6D84034CA902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55A85B7E-C19E-EB56-B1D2-E2A4E38731E6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4480AED-F67C-FD29-03D7-96710B8A353D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EA1D221-80B4-9739-C1FB-978CDD176180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5" name="Graphic 2">
              <a:extLst>
                <a:ext uri="{FF2B5EF4-FFF2-40B4-BE49-F238E27FC236}">
                  <a16:creationId xmlns:a16="http://schemas.microsoft.com/office/drawing/2014/main" id="{6CFE8DBC-35CA-B69E-5D07-9237094C4380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99336D2-B404-AE69-052A-0174A09EC58F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BC3D8BE2-6E87-FF02-657A-A2D2F6C510F7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9D0A4BD7-1419-7FCC-3076-7CF899A3240B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8057AF2A-0DDF-8A0A-0E8B-4E4DF2686D33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4A401BBC-AE19-9C81-6FCD-FB907937CB20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0DFDA3D2-77C3-E997-402D-A57DA5E16C5F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479F542B-3AEF-B723-8131-E2E8B9E97767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7EADF52B-B7E4-C003-369D-697DE3766694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7E350551-61C3-9816-0CF3-535E25DA6E05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EB1D9FA0-38E4-9EC6-2652-815DCFF23E8E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CD09CA73-B14D-398B-8A1A-3FA59A8CDFEA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C633F018-41A9-5454-EFE5-8069891D9283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74104A28-4736-D895-86E5-D141BCDDEB08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6" name="Graphic 2">
                <a:extLst>
                  <a:ext uri="{FF2B5EF4-FFF2-40B4-BE49-F238E27FC236}">
                    <a16:creationId xmlns:a16="http://schemas.microsoft.com/office/drawing/2014/main" id="{E1B43CC4-82DF-E9F8-4B4A-07B1CC333A13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75D50BF4-C158-21D4-29F1-022612E0B7BA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456F3EA4-1962-B20F-E0FE-CB646C6B8AE3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BDC74784-7EFC-4097-7194-F76CC5BEBC01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8" name="Graphic 2">
                <a:extLst>
                  <a:ext uri="{FF2B5EF4-FFF2-40B4-BE49-F238E27FC236}">
                    <a16:creationId xmlns:a16="http://schemas.microsoft.com/office/drawing/2014/main" id="{7B298F67-E877-BA21-5438-8835D946E92A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F1F3B86C-4D00-A011-A59D-416C7D1CB705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4" name="Graphic 2">
                  <a:extLst>
                    <a:ext uri="{FF2B5EF4-FFF2-40B4-BE49-F238E27FC236}">
                      <a16:creationId xmlns:a16="http://schemas.microsoft.com/office/drawing/2014/main" id="{35BB849C-F96A-4B77-C6C9-C36BF3F8E4E6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45B74321-6329-7540-AEAE-63F33835D162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FE8E796B-1DBC-CFD9-5391-02A4C6804E2D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F3F7A3A7-6DEC-ABC0-260A-D14617F6AEC4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5724CA1F-17D4-6147-484A-F4A1B30DB817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7" name="Graphic 2">
                  <a:extLst>
                    <a:ext uri="{FF2B5EF4-FFF2-40B4-BE49-F238E27FC236}">
                      <a16:creationId xmlns:a16="http://schemas.microsoft.com/office/drawing/2014/main" id="{7D1EA8F4-3DCF-8C08-524E-3BD3ECB668BD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3FF8E218-83DB-D072-920C-D5057C1987D8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DD1C7FA4-9E6E-1EAB-EA3C-A177784B435D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7C77BF3F-E1D7-4C86-24B0-FAB829E54D0B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170B64F0-E25A-0144-B81B-A8CDCFF5EBAF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613CC208-D9DB-0088-69E7-1284CFBD5E32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0293A77F-09FD-8BF3-BBA8-44318ECC3549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CF46824C-DD65-7B10-93B7-8BEEE74E5DF2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A32AAA8-5498-A42D-9757-8F523271467E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30" name="Graphic 2">
                <a:extLst>
                  <a:ext uri="{FF2B5EF4-FFF2-40B4-BE49-F238E27FC236}">
                    <a16:creationId xmlns:a16="http://schemas.microsoft.com/office/drawing/2014/main" id="{C1A7D226-5FF7-011C-8446-684E7020E04A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8FF60E5B-7D60-7953-6544-0A8C6C6FC413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35348F57-9D52-68D7-4A2F-90C5A1A914C8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CD7A8E9D-1348-BBD8-EAD5-81932C4DCDAC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58F71D73-98E5-F5C7-CC56-0FBD3E39C2A4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0C10C57C-75EA-6520-851B-394AE18166EF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E1D4CE28-17E5-97DA-970C-16664C15A853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BBD9F89D-5240-77DC-9FC8-7C666CE8A7D0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1A3E74CB-6D13-0CDE-AA83-6567E25E2F4F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8C904417-CE78-3AF0-3661-85EF66ED5259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6A9C5AAB-7FA5-6AB0-193E-E743027160C5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A983AAE6-B315-AED3-B552-4EA2AC065199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3D556D07-AA84-E794-CB54-5ACDE5D2AA75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82A4D67E-A734-D107-8881-C1D23BED1C78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6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5" name="Graphic 174">
            <a:extLst>
              <a:ext uri="{FF2B5EF4-FFF2-40B4-BE49-F238E27FC236}">
                <a16:creationId xmlns:a16="http://schemas.microsoft.com/office/drawing/2014/main" id="{34BA2418-E849-2F1E-6602-B0B7E9769FC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6A1E716C-9E0B-0826-B69C-6AB709489ABF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D6DA6BCB-EBE6-A962-599C-148D49D0050F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DB9BB5B-F025-B5D2-24C5-865F34B3F3E0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865369C-90DB-89D6-42F8-D89391782562}"/>
              </a:ext>
            </a:extLst>
          </p:cNvPr>
          <p:cNvSpPr txBox="1">
            <a:spLocks/>
          </p:cNvSpPr>
          <p:nvPr/>
        </p:nvSpPr>
        <p:spPr>
          <a:xfrm>
            <a:off x="6149908" y="3819499"/>
            <a:ext cx="1728192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NB de contra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EB52920-C7AD-D540-E544-03AFF3A777F4}"/>
              </a:ext>
            </a:extLst>
          </p:cNvPr>
          <p:cNvSpPr txBox="1">
            <a:spLocks/>
          </p:cNvSpPr>
          <p:nvPr/>
        </p:nvSpPr>
        <p:spPr>
          <a:xfrm>
            <a:off x="1955984" y="703401"/>
            <a:ext cx="2282676" cy="830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0" i="1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88 01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8973C1-08F0-4F39-9FCD-79718A019687}"/>
              </a:ext>
            </a:extLst>
          </p:cNvPr>
          <p:cNvSpPr txBox="1">
            <a:spLocks/>
          </p:cNvSpPr>
          <p:nvPr/>
        </p:nvSpPr>
        <p:spPr>
          <a:xfrm>
            <a:off x="2297920" y="1702078"/>
            <a:ext cx="2252454" cy="4847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ébutant en 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025 dans les entreprises 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u Conseil et des Services financiers 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8F68F9F-A6F4-8BF5-BE4D-544EA07852A8}"/>
              </a:ext>
            </a:extLst>
          </p:cNvPr>
          <p:cNvSpPr txBox="1">
            <a:spLocks/>
          </p:cNvSpPr>
          <p:nvPr/>
        </p:nvSpPr>
        <p:spPr>
          <a:xfrm>
            <a:off x="1508296" y="2829179"/>
            <a:ext cx="1847385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94</a:t>
            </a: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4800" b="0" i="1" u="none" strike="noStrike" kern="1200" cap="none" spc="0" normalizeH="0" baseline="0" noProof="1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8F9DE77-C2DA-C551-A785-208CAFDAEC50}"/>
              </a:ext>
            </a:extLst>
          </p:cNvPr>
          <p:cNvSpPr txBox="1">
            <a:spLocks/>
          </p:cNvSpPr>
          <p:nvPr/>
        </p:nvSpPr>
        <p:spPr>
          <a:xfrm>
            <a:off x="1509967" y="3554286"/>
            <a:ext cx="151216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 contrats d’apprentissag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0E3859-CF06-7E9D-786C-778DD51BF898}"/>
              </a:ext>
            </a:extLst>
          </p:cNvPr>
          <p:cNvSpPr txBox="1">
            <a:spLocks/>
          </p:cNvSpPr>
          <p:nvPr/>
        </p:nvSpPr>
        <p:spPr>
          <a:xfrm>
            <a:off x="3599823" y="2829179"/>
            <a:ext cx="1847385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6</a:t>
            </a: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4800" b="0" i="1" u="none" strike="noStrike" kern="1200" cap="none" spc="0" normalizeH="0" baseline="0" noProof="1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C0449DA-FADC-388F-A7A3-866414BE4F4E}"/>
              </a:ext>
            </a:extLst>
          </p:cNvPr>
          <p:cNvSpPr txBox="1">
            <a:spLocks/>
          </p:cNvSpPr>
          <p:nvPr/>
        </p:nvSpPr>
        <p:spPr>
          <a:xfrm>
            <a:off x="3601494" y="3554286"/>
            <a:ext cx="151216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050" dirty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 contrats de professionnalisation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3EAA670B-5B0C-D325-3254-0C8683727BD4}"/>
              </a:ext>
            </a:extLst>
          </p:cNvPr>
          <p:cNvSpPr>
            <a:spLocks/>
          </p:cNvSpPr>
          <p:nvPr/>
        </p:nvSpPr>
        <p:spPr>
          <a:xfrm>
            <a:off x="1047537" y="976602"/>
            <a:ext cx="650763" cy="878528"/>
          </a:xfrm>
          <a:custGeom>
            <a:avLst/>
            <a:gdLst>
              <a:gd name="csX0" fmla="*/ 189987 w 676111"/>
              <a:gd name="csY0" fmla="*/ 0 h 912748"/>
              <a:gd name="csX1" fmla="*/ 213969 w 676111"/>
              <a:gd name="csY1" fmla="*/ 0 h 912748"/>
              <a:gd name="csX2" fmla="*/ 640442 w 676111"/>
              <a:gd name="csY2" fmla="*/ 0 h 912748"/>
              <a:gd name="csX3" fmla="*/ 642305 w 676111"/>
              <a:gd name="csY3" fmla="*/ 0 h 912748"/>
              <a:gd name="csX4" fmla="*/ 676111 w 676111"/>
              <a:gd name="csY4" fmla="*/ 33805 h 912748"/>
              <a:gd name="csX5" fmla="*/ 676111 w 676111"/>
              <a:gd name="csY5" fmla="*/ 422569 h 912748"/>
              <a:gd name="csX6" fmla="*/ 676110 w 676111"/>
              <a:gd name="csY6" fmla="*/ 422571 h 912748"/>
              <a:gd name="csX7" fmla="*/ 676110 w 676111"/>
              <a:gd name="csY7" fmla="*/ 877080 h 912748"/>
              <a:gd name="csX8" fmla="*/ 640442 w 676111"/>
              <a:gd name="csY8" fmla="*/ 912748 h 912748"/>
              <a:gd name="csX9" fmla="*/ 523986 w 676111"/>
              <a:gd name="csY9" fmla="*/ 912748 h 912748"/>
              <a:gd name="csX10" fmla="*/ 213969 w 676111"/>
              <a:gd name="csY10" fmla="*/ 912748 h 912748"/>
              <a:gd name="csX11" fmla="*/ 33805 w 676111"/>
              <a:gd name="csY11" fmla="*/ 912748 h 912748"/>
              <a:gd name="csX12" fmla="*/ 0 w 676111"/>
              <a:gd name="csY12" fmla="*/ 878943 h 912748"/>
              <a:gd name="csX13" fmla="*/ 0 w 676111"/>
              <a:gd name="csY13" fmla="*/ 189987 h 912748"/>
              <a:gd name="csX14" fmla="*/ 14874 w 676111"/>
              <a:gd name="csY14" fmla="*/ 154153 h 912748"/>
              <a:gd name="csX15" fmla="*/ 154153 w 676111"/>
              <a:gd name="csY15" fmla="*/ 14874 h 912748"/>
              <a:gd name="csX16" fmla="*/ 189987 w 676111"/>
              <a:gd name="csY16" fmla="*/ 0 h 9127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676111" h="912748">
                <a:moveTo>
                  <a:pt x="189987" y="0"/>
                </a:moveTo>
                <a:lnTo>
                  <a:pt x="213969" y="0"/>
                </a:lnTo>
                <a:lnTo>
                  <a:pt x="640442" y="0"/>
                </a:lnTo>
                <a:lnTo>
                  <a:pt x="642305" y="0"/>
                </a:lnTo>
                <a:cubicBezTo>
                  <a:pt x="660952" y="56"/>
                  <a:pt x="676055" y="15159"/>
                  <a:pt x="676111" y="33805"/>
                </a:cubicBezTo>
                <a:lnTo>
                  <a:pt x="676111" y="422569"/>
                </a:lnTo>
                <a:lnTo>
                  <a:pt x="676110" y="422571"/>
                </a:lnTo>
                <a:lnTo>
                  <a:pt x="676110" y="877080"/>
                </a:lnTo>
                <a:cubicBezTo>
                  <a:pt x="676110" y="896779"/>
                  <a:pt x="660141" y="912748"/>
                  <a:pt x="640442" y="912748"/>
                </a:cubicBezTo>
                <a:lnTo>
                  <a:pt x="523986" y="912748"/>
                </a:lnTo>
                <a:lnTo>
                  <a:pt x="213969" y="912748"/>
                </a:lnTo>
                <a:lnTo>
                  <a:pt x="33805" y="912748"/>
                </a:lnTo>
                <a:cubicBezTo>
                  <a:pt x="15159" y="912692"/>
                  <a:pt x="56" y="897590"/>
                  <a:pt x="0" y="878943"/>
                </a:cubicBezTo>
                <a:lnTo>
                  <a:pt x="0" y="189987"/>
                </a:lnTo>
                <a:cubicBezTo>
                  <a:pt x="40" y="176548"/>
                  <a:pt x="5386" y="163669"/>
                  <a:pt x="14874" y="154153"/>
                </a:cubicBezTo>
                <a:lnTo>
                  <a:pt x="154153" y="14874"/>
                </a:lnTo>
                <a:cubicBezTo>
                  <a:pt x="163669" y="5386"/>
                  <a:pt x="176548" y="40"/>
                  <a:pt x="189987" y="0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18900000" scaled="1"/>
          </a:gradFill>
          <a:ln w="1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dirty="0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A0CD861D-3F5C-031E-5277-1E9BCB58115D}"/>
              </a:ext>
            </a:extLst>
          </p:cNvPr>
          <p:cNvSpPr/>
          <p:nvPr/>
        </p:nvSpPr>
        <p:spPr>
          <a:xfrm>
            <a:off x="1052093" y="981158"/>
            <a:ext cx="158135" cy="158135"/>
          </a:xfrm>
          <a:custGeom>
            <a:avLst/>
            <a:gdLst>
              <a:gd name="csX0" fmla="*/ 224344 w 224344"/>
              <a:gd name="csY0" fmla="*/ 0 h 224344"/>
              <a:gd name="csX1" fmla="*/ 224344 w 224344"/>
              <a:gd name="csY1" fmla="*/ 178183 h 224344"/>
              <a:gd name="csX2" fmla="*/ 178183 w 224344"/>
              <a:gd name="csY2" fmla="*/ 224344 h 224344"/>
              <a:gd name="csX3" fmla="*/ 0 w 224344"/>
              <a:gd name="csY3" fmla="*/ 224344 h 224344"/>
              <a:gd name="csX4" fmla="*/ 13848 w 224344"/>
              <a:gd name="csY4" fmla="*/ 204033 h 224344"/>
              <a:gd name="csX5" fmla="*/ 204033 w 224344"/>
              <a:gd name="csY5" fmla="*/ 13848 h 224344"/>
              <a:gd name="csX6" fmla="*/ 224344 w 224344"/>
              <a:gd name="csY6" fmla="*/ 0 h 2243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24344" h="224344">
                <a:moveTo>
                  <a:pt x="224344" y="0"/>
                </a:moveTo>
                <a:lnTo>
                  <a:pt x="224344" y="178183"/>
                </a:lnTo>
                <a:cubicBezTo>
                  <a:pt x="224268" y="203645"/>
                  <a:pt x="203645" y="224268"/>
                  <a:pt x="178183" y="224344"/>
                </a:cubicBezTo>
                <a:lnTo>
                  <a:pt x="0" y="224344"/>
                </a:lnTo>
                <a:cubicBezTo>
                  <a:pt x="3308" y="216769"/>
                  <a:pt x="8005" y="209880"/>
                  <a:pt x="13848" y="204033"/>
                </a:cubicBezTo>
                <a:lnTo>
                  <a:pt x="204033" y="13848"/>
                </a:lnTo>
                <a:cubicBezTo>
                  <a:pt x="209880" y="8005"/>
                  <a:pt x="216769" y="3308"/>
                  <a:pt x="224344" y="0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8A6B0310-FF6C-71FC-AFAD-12EC06710543}"/>
              </a:ext>
            </a:extLst>
          </p:cNvPr>
          <p:cNvSpPr/>
          <p:nvPr/>
        </p:nvSpPr>
        <p:spPr>
          <a:xfrm>
            <a:off x="1517992" y="1493532"/>
            <a:ext cx="393152" cy="393150"/>
          </a:xfrm>
          <a:custGeom>
            <a:avLst/>
            <a:gdLst>
              <a:gd name="csX0" fmla="*/ 784743 w 784742"/>
              <a:gd name="csY0" fmla="*/ 392371 h 784742"/>
              <a:gd name="csX1" fmla="*/ 392371 w 784742"/>
              <a:gd name="csY1" fmla="*/ 784743 h 784742"/>
              <a:gd name="csX2" fmla="*/ 0 w 784742"/>
              <a:gd name="csY2" fmla="*/ 392371 h 784742"/>
              <a:gd name="csX3" fmla="*/ 392371 w 784742"/>
              <a:gd name="csY3" fmla="*/ 0 h 784742"/>
              <a:gd name="csX4" fmla="*/ 784743 w 784742"/>
              <a:gd name="csY4" fmla="*/ 392371 h 7847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784742" h="784742">
                <a:moveTo>
                  <a:pt x="784743" y="392371"/>
                </a:moveTo>
                <a:cubicBezTo>
                  <a:pt x="784743" y="609072"/>
                  <a:pt x="609072" y="784743"/>
                  <a:pt x="392371" y="784743"/>
                </a:cubicBezTo>
                <a:cubicBezTo>
                  <a:pt x="175671" y="784743"/>
                  <a:pt x="0" y="609072"/>
                  <a:pt x="0" y="392371"/>
                </a:cubicBezTo>
                <a:cubicBezTo>
                  <a:pt x="0" y="175671"/>
                  <a:pt x="175671" y="0"/>
                  <a:pt x="392371" y="0"/>
                </a:cubicBezTo>
                <a:cubicBezTo>
                  <a:pt x="609072" y="0"/>
                  <a:pt x="784743" y="175671"/>
                  <a:pt x="784743" y="392371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8CCD4202-C725-BCEE-F66E-891FE2B68B6B}"/>
              </a:ext>
            </a:extLst>
          </p:cNvPr>
          <p:cNvSpPr/>
          <p:nvPr/>
        </p:nvSpPr>
        <p:spPr>
          <a:xfrm>
            <a:off x="1129082" y="1676169"/>
            <a:ext cx="276374" cy="114011"/>
          </a:xfrm>
          <a:custGeom>
            <a:avLst/>
            <a:gdLst>
              <a:gd name="csX0" fmla="*/ 369007 w 392087"/>
              <a:gd name="csY0" fmla="*/ 161565 h 161746"/>
              <a:gd name="csX1" fmla="*/ 253604 w 392087"/>
              <a:gd name="csY1" fmla="*/ 113095 h 161746"/>
              <a:gd name="csX2" fmla="*/ 138200 w 392087"/>
              <a:gd name="csY2" fmla="*/ 161565 h 161746"/>
              <a:gd name="csX3" fmla="*/ 115120 w 392087"/>
              <a:gd name="csY3" fmla="*/ 157987 h 161746"/>
              <a:gd name="csX4" fmla="*/ 92039 w 392087"/>
              <a:gd name="csY4" fmla="*/ 161565 h 161746"/>
              <a:gd name="csX5" fmla="*/ 6479 w 392087"/>
              <a:gd name="csY5" fmla="*/ 131721 h 161746"/>
              <a:gd name="csX6" fmla="*/ 7046 w 392087"/>
              <a:gd name="csY6" fmla="*/ 99085 h 161746"/>
              <a:gd name="csX7" fmla="*/ 39115 w 392087"/>
              <a:gd name="csY7" fmla="*/ 99085 h 161746"/>
              <a:gd name="csX8" fmla="*/ 54810 w 392087"/>
              <a:gd name="csY8" fmla="*/ 108318 h 161746"/>
              <a:gd name="csX9" fmla="*/ 45878 w 392087"/>
              <a:gd name="csY9" fmla="*/ 69242 h 161746"/>
              <a:gd name="csX10" fmla="*/ 115120 w 392087"/>
              <a:gd name="csY10" fmla="*/ 0 h 161746"/>
              <a:gd name="csX11" fmla="*/ 184362 w 392087"/>
              <a:gd name="csY11" fmla="*/ 69242 h 161746"/>
              <a:gd name="csX12" fmla="*/ 174275 w 392087"/>
              <a:gd name="csY12" fmla="*/ 110603 h 161746"/>
              <a:gd name="csX13" fmla="*/ 231723 w 392087"/>
              <a:gd name="csY13" fmla="*/ 61948 h 161746"/>
              <a:gd name="csX14" fmla="*/ 260857 w 392087"/>
              <a:gd name="csY14" fmla="*/ 47229 h 161746"/>
              <a:gd name="csX15" fmla="*/ 275577 w 392087"/>
              <a:gd name="csY15" fmla="*/ 61948 h 161746"/>
              <a:gd name="csX16" fmla="*/ 369007 w 392087"/>
              <a:gd name="csY16" fmla="*/ 115403 h 161746"/>
              <a:gd name="csX17" fmla="*/ 392088 w 392087"/>
              <a:gd name="csY17" fmla="*/ 138484 h 161746"/>
              <a:gd name="csX18" fmla="*/ 369007 w 392087"/>
              <a:gd name="csY18" fmla="*/ 161565 h 161746"/>
              <a:gd name="csX19" fmla="*/ 115120 w 392087"/>
              <a:gd name="csY19" fmla="*/ 46161 h 161746"/>
              <a:gd name="csX20" fmla="*/ 92039 w 392087"/>
              <a:gd name="csY20" fmla="*/ 69242 h 161746"/>
              <a:gd name="csX21" fmla="*/ 115120 w 392087"/>
              <a:gd name="csY21" fmla="*/ 107810 h 161746"/>
              <a:gd name="csX22" fmla="*/ 138200 w 392087"/>
              <a:gd name="csY22" fmla="*/ 69242 h 161746"/>
              <a:gd name="csX23" fmla="*/ 115120 w 392087"/>
              <a:gd name="csY23" fmla="*/ 46161 h 1617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392087" h="161746">
                <a:moveTo>
                  <a:pt x="369007" y="161565"/>
                </a:moveTo>
                <a:cubicBezTo>
                  <a:pt x="325176" y="163764"/>
                  <a:pt x="282720" y="145932"/>
                  <a:pt x="253604" y="113095"/>
                </a:cubicBezTo>
                <a:cubicBezTo>
                  <a:pt x="224488" y="145932"/>
                  <a:pt x="182031" y="163764"/>
                  <a:pt x="138200" y="161565"/>
                </a:cubicBezTo>
                <a:cubicBezTo>
                  <a:pt x="130376" y="161471"/>
                  <a:pt x="122605" y="160267"/>
                  <a:pt x="115120" y="157987"/>
                </a:cubicBezTo>
                <a:cubicBezTo>
                  <a:pt x="107634" y="160267"/>
                  <a:pt x="99863" y="161471"/>
                  <a:pt x="92039" y="161565"/>
                </a:cubicBezTo>
                <a:cubicBezTo>
                  <a:pt x="60752" y="162922"/>
                  <a:pt x="30134" y="152243"/>
                  <a:pt x="6479" y="131721"/>
                </a:cubicBezTo>
                <a:cubicBezTo>
                  <a:pt x="-2377" y="122553"/>
                  <a:pt x="-2123" y="107941"/>
                  <a:pt x="7046" y="99085"/>
                </a:cubicBezTo>
                <a:cubicBezTo>
                  <a:pt x="15991" y="90447"/>
                  <a:pt x="30171" y="90447"/>
                  <a:pt x="39115" y="99085"/>
                </a:cubicBezTo>
                <a:cubicBezTo>
                  <a:pt x="43822" y="102978"/>
                  <a:pt x="49120" y="106095"/>
                  <a:pt x="54810" y="108318"/>
                </a:cubicBezTo>
                <a:cubicBezTo>
                  <a:pt x="48856" y="96157"/>
                  <a:pt x="45799" y="82782"/>
                  <a:pt x="45878" y="69242"/>
                </a:cubicBezTo>
                <a:cubicBezTo>
                  <a:pt x="45878" y="31001"/>
                  <a:pt x="76878" y="0"/>
                  <a:pt x="115120" y="0"/>
                </a:cubicBezTo>
                <a:cubicBezTo>
                  <a:pt x="153361" y="0"/>
                  <a:pt x="184362" y="31001"/>
                  <a:pt x="184362" y="69242"/>
                </a:cubicBezTo>
                <a:cubicBezTo>
                  <a:pt x="184469" y="83650"/>
                  <a:pt x="181003" y="97861"/>
                  <a:pt x="174275" y="110603"/>
                </a:cubicBezTo>
                <a:cubicBezTo>
                  <a:pt x="199926" y="104155"/>
                  <a:pt x="221141" y="86187"/>
                  <a:pt x="231723" y="61948"/>
                </a:cubicBezTo>
                <a:cubicBezTo>
                  <a:pt x="235704" y="49839"/>
                  <a:pt x="248747" y="43249"/>
                  <a:pt x="260857" y="47229"/>
                </a:cubicBezTo>
                <a:cubicBezTo>
                  <a:pt x="267823" y="49519"/>
                  <a:pt x="273287" y="54982"/>
                  <a:pt x="275577" y="61948"/>
                </a:cubicBezTo>
                <a:cubicBezTo>
                  <a:pt x="276200" y="63933"/>
                  <a:pt x="295426" y="115403"/>
                  <a:pt x="369007" y="115403"/>
                </a:cubicBezTo>
                <a:cubicBezTo>
                  <a:pt x="381754" y="115403"/>
                  <a:pt x="392088" y="125737"/>
                  <a:pt x="392088" y="138484"/>
                </a:cubicBezTo>
                <a:cubicBezTo>
                  <a:pt x="392088" y="151231"/>
                  <a:pt x="381754" y="161565"/>
                  <a:pt x="369007" y="161565"/>
                </a:cubicBezTo>
                <a:close/>
                <a:moveTo>
                  <a:pt x="115120" y="46161"/>
                </a:moveTo>
                <a:cubicBezTo>
                  <a:pt x="102373" y="46161"/>
                  <a:pt x="92039" y="56495"/>
                  <a:pt x="92039" y="69242"/>
                </a:cubicBezTo>
                <a:cubicBezTo>
                  <a:pt x="92183" y="85328"/>
                  <a:pt x="101011" y="100080"/>
                  <a:pt x="115120" y="107810"/>
                </a:cubicBezTo>
                <a:cubicBezTo>
                  <a:pt x="129228" y="100080"/>
                  <a:pt x="138056" y="85328"/>
                  <a:pt x="138200" y="69242"/>
                </a:cubicBezTo>
                <a:cubicBezTo>
                  <a:pt x="138200" y="56495"/>
                  <a:pt x="127867" y="46161"/>
                  <a:pt x="115120" y="46161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grpSp>
        <p:nvGrpSpPr>
          <p:cNvPr id="79" name="Graphic 64">
            <a:extLst>
              <a:ext uri="{FF2B5EF4-FFF2-40B4-BE49-F238E27FC236}">
                <a16:creationId xmlns:a16="http://schemas.microsoft.com/office/drawing/2014/main" id="{9A4A3BD8-328F-2714-7736-577BD9EECBE0}"/>
              </a:ext>
            </a:extLst>
          </p:cNvPr>
          <p:cNvGrpSpPr/>
          <p:nvPr/>
        </p:nvGrpSpPr>
        <p:grpSpPr>
          <a:xfrm>
            <a:off x="1112613" y="1204368"/>
            <a:ext cx="520610" cy="422994"/>
            <a:chOff x="2061661" y="-115204"/>
            <a:chExt cx="738581" cy="600097"/>
          </a:xfr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97385CF-FF65-E09D-2A92-C83AB5870F4B}"/>
                </a:ext>
              </a:extLst>
            </p:cNvPr>
            <p:cNvSpPr/>
            <p:nvPr/>
          </p:nvSpPr>
          <p:spPr>
            <a:xfrm>
              <a:off x="2061661" y="438732"/>
              <a:ext cx="392371" cy="46161"/>
            </a:xfrm>
            <a:custGeom>
              <a:avLst/>
              <a:gdLst>
                <a:gd name="csX0" fmla="*/ 369291 w 392371"/>
                <a:gd name="csY0" fmla="*/ 46161 h 46161"/>
                <a:gd name="csX1" fmla="*/ 23081 w 392371"/>
                <a:gd name="csY1" fmla="*/ 46161 h 46161"/>
                <a:gd name="csX2" fmla="*/ 0 w 392371"/>
                <a:gd name="csY2" fmla="*/ 23081 h 46161"/>
                <a:gd name="csX3" fmla="*/ 23081 w 392371"/>
                <a:gd name="csY3" fmla="*/ 0 h 46161"/>
                <a:gd name="csX4" fmla="*/ 369291 w 392371"/>
                <a:gd name="csY4" fmla="*/ 0 h 46161"/>
                <a:gd name="csX5" fmla="*/ 392371 w 392371"/>
                <a:gd name="csY5" fmla="*/ 23081 h 46161"/>
                <a:gd name="csX6" fmla="*/ 369291 w 39237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92371" h="46161">
                  <a:moveTo>
                    <a:pt x="36929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69291" y="0"/>
                  </a:lnTo>
                  <a:cubicBezTo>
                    <a:pt x="382038" y="0"/>
                    <a:pt x="392371" y="10334"/>
                    <a:pt x="392371" y="23081"/>
                  </a:cubicBezTo>
                  <a:cubicBezTo>
                    <a:pt x="392371" y="35828"/>
                    <a:pt x="382038" y="46161"/>
                    <a:pt x="36929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D7A23E0-340A-1F21-6587-F4D4DE78F037}"/>
                </a:ext>
              </a:extLst>
            </p:cNvPr>
            <p:cNvSpPr/>
            <p:nvPr/>
          </p:nvSpPr>
          <p:spPr>
            <a:xfrm>
              <a:off x="2061661" y="300248"/>
              <a:ext cx="415452" cy="46161"/>
            </a:xfrm>
            <a:custGeom>
              <a:avLst/>
              <a:gdLst>
                <a:gd name="csX0" fmla="*/ 392371 w 415452"/>
                <a:gd name="csY0" fmla="*/ 46161 h 46161"/>
                <a:gd name="csX1" fmla="*/ 23081 w 415452"/>
                <a:gd name="csY1" fmla="*/ 46161 h 46161"/>
                <a:gd name="csX2" fmla="*/ 0 w 415452"/>
                <a:gd name="csY2" fmla="*/ 23081 h 46161"/>
                <a:gd name="csX3" fmla="*/ 23081 w 415452"/>
                <a:gd name="csY3" fmla="*/ 0 h 46161"/>
                <a:gd name="csX4" fmla="*/ 392371 w 415452"/>
                <a:gd name="csY4" fmla="*/ 0 h 46161"/>
                <a:gd name="csX5" fmla="*/ 415452 w 415452"/>
                <a:gd name="csY5" fmla="*/ 23081 h 46161"/>
                <a:gd name="csX6" fmla="*/ 392371 w 415452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15452" h="46161">
                  <a:moveTo>
                    <a:pt x="39237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92371" y="0"/>
                  </a:lnTo>
                  <a:cubicBezTo>
                    <a:pt x="405118" y="0"/>
                    <a:pt x="415452" y="10334"/>
                    <a:pt x="415452" y="23081"/>
                  </a:cubicBezTo>
                  <a:cubicBezTo>
                    <a:pt x="415452" y="35828"/>
                    <a:pt x="405118" y="46161"/>
                    <a:pt x="39237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AB13353-0400-F3FE-B68C-0F91A65C67D0}"/>
                </a:ext>
              </a:extLst>
            </p:cNvPr>
            <p:cNvSpPr/>
            <p:nvPr/>
          </p:nvSpPr>
          <p:spPr>
            <a:xfrm>
              <a:off x="2061661" y="161764"/>
              <a:ext cx="507774" cy="46161"/>
            </a:xfrm>
            <a:custGeom>
              <a:avLst/>
              <a:gdLst>
                <a:gd name="csX0" fmla="*/ 484694 w 507774"/>
                <a:gd name="csY0" fmla="*/ 46161 h 46161"/>
                <a:gd name="csX1" fmla="*/ 23081 w 507774"/>
                <a:gd name="csY1" fmla="*/ 46161 h 46161"/>
                <a:gd name="csX2" fmla="*/ 0 w 507774"/>
                <a:gd name="csY2" fmla="*/ 23081 h 46161"/>
                <a:gd name="csX3" fmla="*/ 23081 w 507774"/>
                <a:gd name="csY3" fmla="*/ 0 h 46161"/>
                <a:gd name="csX4" fmla="*/ 484694 w 507774"/>
                <a:gd name="csY4" fmla="*/ 0 h 46161"/>
                <a:gd name="csX5" fmla="*/ 507775 w 507774"/>
                <a:gd name="csY5" fmla="*/ 23081 h 46161"/>
                <a:gd name="csX6" fmla="*/ 484694 w 507774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07774" h="46161">
                  <a:moveTo>
                    <a:pt x="484694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484694" y="0"/>
                  </a:lnTo>
                  <a:cubicBezTo>
                    <a:pt x="497441" y="0"/>
                    <a:pt x="507775" y="10334"/>
                    <a:pt x="507775" y="23081"/>
                  </a:cubicBezTo>
                  <a:cubicBezTo>
                    <a:pt x="507775" y="35828"/>
                    <a:pt x="497441" y="46161"/>
                    <a:pt x="484694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FEFC8D9-F59F-DDBD-E95C-D1CAA672DA78}"/>
                </a:ext>
              </a:extLst>
            </p:cNvPr>
            <p:cNvSpPr/>
            <p:nvPr/>
          </p:nvSpPr>
          <p:spPr>
            <a:xfrm>
              <a:off x="2061661" y="23280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776ADA8-041D-5BE7-C9AB-AAC3F62595D4}"/>
                </a:ext>
              </a:extLst>
            </p:cNvPr>
            <p:cNvSpPr/>
            <p:nvPr/>
          </p:nvSpPr>
          <p:spPr>
            <a:xfrm>
              <a:off x="2061661" y="-115204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D93C8435-A4CF-E48C-32FB-8FBD0F55133D}"/>
              </a:ext>
            </a:extLst>
          </p:cNvPr>
          <p:cNvSpPr/>
          <p:nvPr/>
        </p:nvSpPr>
        <p:spPr>
          <a:xfrm rot="20145245" flipH="1">
            <a:off x="1939999" y="1848348"/>
            <a:ext cx="1284" cy="934"/>
          </a:xfrm>
          <a:custGeom>
            <a:avLst/>
            <a:gdLst>
              <a:gd name="csX0" fmla="*/ 12458 w 13527"/>
              <a:gd name="csY0" fmla="*/ 9832 h 9832"/>
              <a:gd name="csX1" fmla="*/ 0 w 13527"/>
              <a:gd name="csY1" fmla="*/ 0 h 9832"/>
              <a:gd name="csX2" fmla="*/ 12458 w 13527"/>
              <a:gd name="csY2" fmla="*/ 9832 h 98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7" h="9832">
                <a:moveTo>
                  <a:pt x="12458" y="9832"/>
                </a:moveTo>
                <a:cubicBezTo>
                  <a:pt x="7389" y="7634"/>
                  <a:pt x="2382" y="5313"/>
                  <a:pt x="0" y="0"/>
                </a:cubicBezTo>
                <a:cubicBezTo>
                  <a:pt x="5130" y="1221"/>
                  <a:pt x="17161" y="2138"/>
                  <a:pt x="12458" y="9832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 useBgFill="1">
        <p:nvSpPr>
          <p:cNvPr id="97" name="Parallelogram 96">
            <a:extLst>
              <a:ext uri="{FF2B5EF4-FFF2-40B4-BE49-F238E27FC236}">
                <a16:creationId xmlns:a16="http://schemas.microsoft.com/office/drawing/2014/main" id="{FB0013DA-281B-1F8E-3E59-04AC7782EE53}"/>
              </a:ext>
            </a:extLst>
          </p:cNvPr>
          <p:cNvSpPr/>
          <p:nvPr/>
        </p:nvSpPr>
        <p:spPr>
          <a:xfrm>
            <a:off x="3097323" y="1392469"/>
            <a:ext cx="1307476" cy="361695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062DB85-5A63-C593-2E97-A543FADA36DB}"/>
              </a:ext>
            </a:extLst>
          </p:cNvPr>
          <p:cNvSpPr txBox="1">
            <a:spLocks/>
          </p:cNvSpPr>
          <p:nvPr/>
        </p:nvSpPr>
        <p:spPr>
          <a:xfrm>
            <a:off x="3207164" y="1399596"/>
            <a:ext cx="1105632" cy="4119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1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 contrats en   </a:t>
            </a:r>
          </a:p>
          <a:p>
            <a:pPr marL="0" marR="0" lvl="0" indent="0" defTabSz="4572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i="1" noProof="1">
                <a:solidFill>
                  <a:schemeClr val="accent2">
                    <a:lumMod val="20000"/>
                    <a:lumOff val="80000"/>
                  </a:schemeClr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    </a:t>
            </a:r>
            <a:r>
              <a:rPr kumimoji="0" lang="fr-FR" sz="1600" b="0" i="1" u="none" strike="noStrike" kern="1200" cap="none" spc="0" normalizeH="0" baseline="0" noProof="1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alternance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FB9390D-BD52-6610-1FC2-D7B9AC185AE0}"/>
              </a:ext>
            </a:extLst>
          </p:cNvPr>
          <p:cNvCxnSpPr>
            <a:cxnSpLocks/>
          </p:cNvCxnSpPr>
          <p:nvPr/>
        </p:nvCxnSpPr>
        <p:spPr>
          <a:xfrm>
            <a:off x="1008992" y="2488299"/>
            <a:ext cx="3749560" cy="0"/>
          </a:xfrm>
          <a:prstGeom prst="line">
            <a:avLst/>
          </a:prstGeom>
          <a:ln w="41275" cap="rnd">
            <a:solidFill>
              <a:schemeClr val="accent1">
                <a:lumMod val="20000"/>
                <a:lumOff val="80000"/>
                <a:alpha val="15000"/>
              </a:schemeClr>
            </a:solidFill>
            <a:beve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91E518D-4E7D-125F-0D12-14B9265F2100}"/>
              </a:ext>
            </a:extLst>
          </p:cNvPr>
          <p:cNvCxnSpPr>
            <a:cxnSpLocks/>
          </p:cNvCxnSpPr>
          <p:nvPr/>
        </p:nvCxnSpPr>
        <p:spPr>
          <a:xfrm>
            <a:off x="1022475" y="2488869"/>
            <a:ext cx="245881" cy="0"/>
          </a:xfrm>
          <a:prstGeom prst="line">
            <a:avLst/>
          </a:prstGeom>
          <a:ln w="41275" cap="rnd">
            <a:solidFill>
              <a:schemeClr val="accent2"/>
            </a:solidFill>
            <a:round/>
          </a:ln>
          <a:effectLst>
            <a:outerShdw blurRad="63500" sx="102000" sy="102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A703B35E-C8EF-1783-4195-06600DC9328C}"/>
              </a:ext>
            </a:extLst>
          </p:cNvPr>
          <p:cNvCxnSpPr>
            <a:cxnSpLocks/>
          </p:cNvCxnSpPr>
          <p:nvPr/>
        </p:nvCxnSpPr>
        <p:spPr>
          <a:xfrm>
            <a:off x="3114002" y="2488869"/>
            <a:ext cx="245881" cy="0"/>
          </a:xfrm>
          <a:prstGeom prst="line">
            <a:avLst/>
          </a:prstGeom>
          <a:ln w="41275" cap="rnd">
            <a:solidFill>
              <a:schemeClr val="accent2"/>
            </a:solidFill>
            <a:round/>
          </a:ln>
          <a:effectLst>
            <a:outerShdw blurRad="63500" sx="102000" sy="102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2" name="Graphic 181">
            <a:extLst>
              <a:ext uri="{FF2B5EF4-FFF2-40B4-BE49-F238E27FC236}">
                <a16:creationId xmlns:a16="http://schemas.microsoft.com/office/drawing/2014/main" id="{ADB77775-875F-9780-2793-85C6A7429EF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12755" y="1588294"/>
            <a:ext cx="203626" cy="203626"/>
          </a:xfrm>
          <a:prstGeom prst="rect">
            <a:avLst/>
          </a:prstGeom>
        </p:spPr>
      </p:pic>
      <p:sp>
        <p:nvSpPr>
          <p:cNvPr id="183" name="Arc 182">
            <a:extLst>
              <a:ext uri="{FF2B5EF4-FFF2-40B4-BE49-F238E27FC236}">
                <a16:creationId xmlns:a16="http://schemas.microsoft.com/office/drawing/2014/main" id="{78E9BF8C-29CC-8899-FB76-FF8870C69BE9}"/>
              </a:ext>
            </a:extLst>
          </p:cNvPr>
          <p:cNvSpPr/>
          <p:nvPr/>
        </p:nvSpPr>
        <p:spPr>
          <a:xfrm>
            <a:off x="1469876" y="1445419"/>
            <a:ext cx="489384" cy="489376"/>
          </a:xfrm>
          <a:prstGeom prst="arc">
            <a:avLst>
              <a:gd name="adj1" fmla="val 16546929"/>
              <a:gd name="adj2" fmla="val 7825901"/>
            </a:avLst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663D0E02-9BF4-F5DD-788C-D4069C47A7C3}"/>
              </a:ext>
            </a:extLst>
          </p:cNvPr>
          <p:cNvSpPr/>
          <p:nvPr/>
        </p:nvSpPr>
        <p:spPr>
          <a:xfrm rot="20145245" flipH="1">
            <a:off x="1841388" y="1681756"/>
            <a:ext cx="160619" cy="198000"/>
          </a:xfrm>
          <a:custGeom>
            <a:avLst/>
            <a:gdLst>
              <a:gd name="csX0" fmla="*/ 1691555 w 1691554"/>
              <a:gd name="csY0" fmla="*/ 70263 h 2085222"/>
              <a:gd name="csX1" fmla="*/ 1676715 w 1691554"/>
              <a:gd name="csY1" fmla="*/ 89317 h 2085222"/>
              <a:gd name="csX2" fmla="*/ 1676410 w 1691554"/>
              <a:gd name="csY2" fmla="*/ 2019265 h 2085222"/>
              <a:gd name="csX3" fmla="*/ 1596346 w 1691554"/>
              <a:gd name="csY3" fmla="*/ 2081679 h 2085222"/>
              <a:gd name="csX4" fmla="*/ 992360 w 1691554"/>
              <a:gd name="csY4" fmla="*/ 1820786 h 2085222"/>
              <a:gd name="csX5" fmla="*/ 963779 w 1691554"/>
              <a:gd name="csY5" fmla="*/ 1782922 h 2085222"/>
              <a:gd name="csX6" fmla="*/ 951320 w 1691554"/>
              <a:gd name="csY6" fmla="*/ 1773090 h 2085222"/>
              <a:gd name="csX7" fmla="*/ 938618 w 1691554"/>
              <a:gd name="csY7" fmla="*/ 1772662 h 2085222"/>
              <a:gd name="csX8" fmla="*/ 895319 w 1691554"/>
              <a:gd name="csY8" fmla="*/ 1782373 h 2085222"/>
              <a:gd name="csX9" fmla="*/ 60059 w 1691554"/>
              <a:gd name="csY9" fmla="*/ 1935720 h 2085222"/>
              <a:gd name="csX10" fmla="*/ 44608 w 1691554"/>
              <a:gd name="csY10" fmla="*/ 1944515 h 2085222"/>
              <a:gd name="csX11" fmla="*/ 27 w 1691554"/>
              <a:gd name="csY11" fmla="*/ 1877948 h 2085222"/>
              <a:gd name="csX12" fmla="*/ 1606117 w 1691554"/>
              <a:gd name="csY12" fmla="*/ 1010 h 2085222"/>
              <a:gd name="csX13" fmla="*/ 1691555 w 1691554"/>
              <a:gd name="csY13" fmla="*/ 70325 h 20852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691554" h="2085222">
                <a:moveTo>
                  <a:pt x="1691555" y="70263"/>
                </a:moveTo>
                <a:lnTo>
                  <a:pt x="1676715" y="89317"/>
                </a:lnTo>
                <a:lnTo>
                  <a:pt x="1676410" y="2019265"/>
                </a:lnTo>
                <a:cubicBezTo>
                  <a:pt x="1665966" y="2074106"/>
                  <a:pt x="1659615" y="2094076"/>
                  <a:pt x="1596346" y="2081679"/>
                </a:cubicBezTo>
                <a:lnTo>
                  <a:pt x="992360" y="1820786"/>
                </a:lnTo>
                <a:cubicBezTo>
                  <a:pt x="975138" y="1810893"/>
                  <a:pt x="965611" y="1798251"/>
                  <a:pt x="963779" y="1782922"/>
                </a:cubicBezTo>
                <a:lnTo>
                  <a:pt x="951320" y="1773090"/>
                </a:lnTo>
                <a:cubicBezTo>
                  <a:pt x="946923" y="1779197"/>
                  <a:pt x="942709" y="1779075"/>
                  <a:pt x="938618" y="1772662"/>
                </a:cubicBezTo>
                <a:cubicBezTo>
                  <a:pt x="927625" y="1782922"/>
                  <a:pt x="913151" y="1786159"/>
                  <a:pt x="895319" y="1782373"/>
                </a:cubicBezTo>
                <a:lnTo>
                  <a:pt x="60059" y="1935720"/>
                </a:lnTo>
                <a:cubicBezTo>
                  <a:pt x="66288" y="1921125"/>
                  <a:pt x="61158" y="1924056"/>
                  <a:pt x="44608" y="1944515"/>
                </a:cubicBezTo>
                <a:cubicBezTo>
                  <a:pt x="32211" y="1922835"/>
                  <a:pt x="-1073" y="1914468"/>
                  <a:pt x="27" y="1877948"/>
                </a:cubicBezTo>
                <a:lnTo>
                  <a:pt x="1606117" y="1010"/>
                </a:lnTo>
                <a:cubicBezTo>
                  <a:pt x="1656989" y="-7296"/>
                  <a:pt x="1674577" y="37408"/>
                  <a:pt x="1691555" y="70325"/>
                </a:cubicBezTo>
                <a:close/>
              </a:path>
            </a:pathLst>
          </a:custGeom>
          <a:gradFill>
            <a:gsLst>
              <a:gs pos="63000">
                <a:schemeClr val="accent2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2700000" scaled="0"/>
          </a:gra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836CD7B5-C955-C8B1-1019-BDC21A922E8A}"/>
              </a:ext>
            </a:extLst>
          </p:cNvPr>
          <p:cNvSpPr/>
          <p:nvPr/>
        </p:nvSpPr>
        <p:spPr>
          <a:xfrm rot="20145245" flipH="1">
            <a:off x="1830276" y="1706461"/>
            <a:ext cx="95210" cy="228520"/>
          </a:xfrm>
          <a:custGeom>
            <a:avLst/>
            <a:gdLst>
              <a:gd name="csX0" fmla="*/ 753539 w 1002707"/>
              <a:gd name="csY0" fmla="*/ 36703 h 2406639"/>
              <a:gd name="csX1" fmla="*/ 999164 w 1002707"/>
              <a:gd name="csY1" fmla="*/ 364713 h 2406639"/>
              <a:gd name="csX2" fmla="*/ 1002034 w 1002707"/>
              <a:gd name="csY2" fmla="*/ 2402205 h 2406639"/>
              <a:gd name="csX3" fmla="*/ 869023 w 1002707"/>
              <a:gd name="csY3" fmla="*/ 2372403 h 2406639"/>
              <a:gd name="csX4" fmla="*/ 515486 w 1002707"/>
              <a:gd name="csY4" fmla="*/ 2222536 h 2406639"/>
              <a:gd name="csX5" fmla="*/ 281892 w 1002707"/>
              <a:gd name="csY5" fmla="*/ 2116273 h 2406639"/>
              <a:gd name="csX6" fmla="*/ 241158 w 1002707"/>
              <a:gd name="csY6" fmla="*/ 2105647 h 2406639"/>
              <a:gd name="csX7" fmla="*/ 785 w 1002707"/>
              <a:gd name="csY7" fmla="*/ 1769271 h 2406639"/>
              <a:gd name="csX8" fmla="*/ 785 w 1002707"/>
              <a:gd name="csY8" fmla="*/ 1739163 h 2406639"/>
              <a:gd name="csX9" fmla="*/ 13487 w 1002707"/>
              <a:gd name="csY9" fmla="*/ 1739591 h 2406639"/>
              <a:gd name="csX10" fmla="*/ 25946 w 1002707"/>
              <a:gd name="csY10" fmla="*/ 1749423 h 2406639"/>
              <a:gd name="csX11" fmla="*/ 670361 w 1002707"/>
              <a:gd name="csY11" fmla="*/ 2027843 h 2406639"/>
              <a:gd name="csX12" fmla="*/ 703461 w 1002707"/>
              <a:gd name="csY12" fmla="*/ 2023996 h 2406639"/>
              <a:gd name="csX13" fmla="*/ 715064 w 1002707"/>
              <a:gd name="csY13" fmla="*/ 1993888 h 2406639"/>
              <a:gd name="csX14" fmla="*/ 715370 w 1002707"/>
              <a:gd name="csY14" fmla="*/ 0 h 2406639"/>
              <a:gd name="csX15" fmla="*/ 753600 w 1002707"/>
              <a:gd name="csY15" fmla="*/ 36764 h 2406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002707" h="2406639">
                <a:moveTo>
                  <a:pt x="753539" y="36703"/>
                </a:moveTo>
                <a:cubicBezTo>
                  <a:pt x="768623" y="38841"/>
                  <a:pt x="990370" y="331063"/>
                  <a:pt x="999164" y="364713"/>
                </a:cubicBezTo>
                <a:cubicBezTo>
                  <a:pt x="1002584" y="1044182"/>
                  <a:pt x="1003500" y="1723346"/>
                  <a:pt x="1002034" y="2402205"/>
                </a:cubicBezTo>
                <a:cubicBezTo>
                  <a:pt x="962094" y="2413381"/>
                  <a:pt x="917757" y="2403426"/>
                  <a:pt x="869023" y="2372403"/>
                </a:cubicBezTo>
                <a:cubicBezTo>
                  <a:pt x="748592" y="2336676"/>
                  <a:pt x="636222" y="2274995"/>
                  <a:pt x="515486" y="2222536"/>
                </a:cubicBezTo>
                <a:cubicBezTo>
                  <a:pt x="434446" y="2187359"/>
                  <a:pt x="355359" y="2158168"/>
                  <a:pt x="281892" y="2116273"/>
                </a:cubicBezTo>
                <a:lnTo>
                  <a:pt x="241158" y="2105647"/>
                </a:lnTo>
                <a:cubicBezTo>
                  <a:pt x="185950" y="2054226"/>
                  <a:pt x="8296" y="1829609"/>
                  <a:pt x="785" y="1769271"/>
                </a:cubicBezTo>
                <a:cubicBezTo>
                  <a:pt x="-437" y="1759378"/>
                  <a:pt x="-70" y="1749301"/>
                  <a:pt x="785" y="1739163"/>
                </a:cubicBezTo>
                <a:cubicBezTo>
                  <a:pt x="4937" y="1739713"/>
                  <a:pt x="9396" y="1738553"/>
                  <a:pt x="13487" y="1739591"/>
                </a:cubicBezTo>
                <a:lnTo>
                  <a:pt x="25946" y="1749423"/>
                </a:lnTo>
                <a:lnTo>
                  <a:pt x="670361" y="2027843"/>
                </a:lnTo>
                <a:cubicBezTo>
                  <a:pt x="682453" y="2033095"/>
                  <a:pt x="697781" y="2028943"/>
                  <a:pt x="703461" y="2023996"/>
                </a:cubicBezTo>
                <a:cubicBezTo>
                  <a:pt x="708469" y="2019660"/>
                  <a:pt x="715064" y="2010255"/>
                  <a:pt x="715064" y="1993888"/>
                </a:cubicBezTo>
                <a:lnTo>
                  <a:pt x="715370" y="0"/>
                </a:lnTo>
                <a:cubicBezTo>
                  <a:pt x="734790" y="18504"/>
                  <a:pt x="740408" y="34871"/>
                  <a:pt x="753600" y="36764"/>
                </a:cubicBezTo>
                <a:close/>
              </a:path>
            </a:pathLst>
          </a:custGeom>
          <a:solidFill>
            <a:srgbClr val="2D255E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29CBA5F5-629A-2469-1B6D-46DEABE72142}"/>
              </a:ext>
            </a:extLst>
          </p:cNvPr>
          <p:cNvSpPr/>
          <p:nvPr/>
        </p:nvSpPr>
        <p:spPr>
          <a:xfrm rot="20145245" flipH="1">
            <a:off x="1922862" y="1832016"/>
            <a:ext cx="112090" cy="51564"/>
          </a:xfrm>
          <a:custGeom>
            <a:avLst/>
            <a:gdLst>
              <a:gd name="csX0" fmla="*/ 899426 w 1180472"/>
              <a:gd name="csY0" fmla="*/ 14426 h 543038"/>
              <a:gd name="csX1" fmla="*/ 1134120 w 1180472"/>
              <a:gd name="csY1" fmla="*/ 339260 h 543038"/>
              <a:gd name="csX2" fmla="*/ 1180472 w 1180472"/>
              <a:gd name="csY2" fmla="*/ 391597 h 543038"/>
              <a:gd name="csX3" fmla="*/ 315349 w 1180472"/>
              <a:gd name="csY3" fmla="*/ 541586 h 543038"/>
              <a:gd name="csX4" fmla="*/ 237972 w 1180472"/>
              <a:gd name="csY4" fmla="*/ 510013 h 543038"/>
              <a:gd name="csX5" fmla="*/ 5355 w 1180472"/>
              <a:gd name="csY5" fmla="*/ 186339 h 543038"/>
              <a:gd name="csX6" fmla="*/ 2790 w 1180472"/>
              <a:gd name="csY6" fmla="*/ 157026 h 543038"/>
              <a:gd name="csX7" fmla="*/ 853440 w 1180472"/>
              <a:gd name="csY7" fmla="*/ 930 h 543038"/>
              <a:gd name="csX8" fmla="*/ 899426 w 1180472"/>
              <a:gd name="csY8" fmla="*/ 14487 h 543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80472" h="543038">
                <a:moveTo>
                  <a:pt x="899426" y="14426"/>
                </a:moveTo>
                <a:cubicBezTo>
                  <a:pt x="965016" y="123681"/>
                  <a:pt x="1042453" y="235745"/>
                  <a:pt x="1134120" y="339260"/>
                </a:cubicBezTo>
                <a:lnTo>
                  <a:pt x="1180472" y="391597"/>
                </a:lnTo>
                <a:lnTo>
                  <a:pt x="315349" y="541586"/>
                </a:lnTo>
                <a:cubicBezTo>
                  <a:pt x="281821" y="547388"/>
                  <a:pt x="255255" y="535601"/>
                  <a:pt x="237972" y="510013"/>
                </a:cubicBezTo>
                <a:cubicBezTo>
                  <a:pt x="161634" y="397277"/>
                  <a:pt x="70334" y="300114"/>
                  <a:pt x="5355" y="186339"/>
                </a:cubicBezTo>
                <a:cubicBezTo>
                  <a:pt x="2790" y="178095"/>
                  <a:pt x="-3683" y="168934"/>
                  <a:pt x="2790" y="157026"/>
                </a:cubicBezTo>
                <a:lnTo>
                  <a:pt x="853440" y="930"/>
                </a:lnTo>
                <a:cubicBezTo>
                  <a:pt x="873960" y="-2857"/>
                  <a:pt x="889594" y="5571"/>
                  <a:pt x="899426" y="14487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4759BFBB-CA19-DA5F-4715-A43B4093B43F}"/>
              </a:ext>
            </a:extLst>
          </p:cNvPr>
          <p:cNvGraphicFramePr>
            <a:graphicFrameLocks/>
          </p:cNvGraphicFramePr>
          <p:nvPr/>
        </p:nvGraphicFramePr>
        <p:xfrm>
          <a:off x="5300119" y="625030"/>
          <a:ext cx="3076236" cy="3180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E07FBBA-4089-7295-0F1E-94BAB20B81C5}"/>
              </a:ext>
            </a:extLst>
          </p:cNvPr>
          <p:cNvCxnSpPr>
            <a:cxnSpLocks/>
          </p:cNvCxnSpPr>
          <p:nvPr/>
        </p:nvCxnSpPr>
        <p:spPr>
          <a:xfrm>
            <a:off x="5790231" y="3451571"/>
            <a:ext cx="2447547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63500" sx="102000" sy="102000" algn="ctr" rotWithShape="0">
              <a:schemeClr val="accent2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F67D07B-F57E-397B-1A96-4A8189F80CB5}"/>
              </a:ext>
            </a:extLst>
          </p:cNvPr>
          <p:cNvSpPr txBox="1">
            <a:spLocks/>
          </p:cNvSpPr>
          <p:nvPr/>
        </p:nvSpPr>
        <p:spPr>
          <a:xfrm>
            <a:off x="6556488" y="1918580"/>
            <a:ext cx="8775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82 367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ADB5FC4-6294-A25C-23AE-642BAA10BA5E}"/>
              </a:ext>
            </a:extLst>
          </p:cNvPr>
          <p:cNvSpPr>
            <a:spLocks/>
          </p:cNvSpPr>
          <p:nvPr/>
        </p:nvSpPr>
        <p:spPr>
          <a:xfrm>
            <a:off x="5790231" y="2367855"/>
            <a:ext cx="2447547" cy="1083715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2">
                  <a:alpha val="16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DDE2566A-3CC6-E622-8F2F-1E5EE9C62E3C}"/>
              </a:ext>
            </a:extLst>
          </p:cNvPr>
          <p:cNvSpPr txBox="1">
            <a:spLocks/>
          </p:cNvSpPr>
          <p:nvPr/>
        </p:nvSpPr>
        <p:spPr>
          <a:xfrm>
            <a:off x="6407444" y="3451570"/>
            <a:ext cx="1213119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5 648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EB06BAC0-6F18-D9F2-3D1B-4E12955D4192}"/>
              </a:ext>
            </a:extLst>
          </p:cNvPr>
          <p:cNvCxnSpPr>
            <a:cxnSpLocks/>
          </p:cNvCxnSpPr>
          <p:nvPr/>
        </p:nvCxnSpPr>
        <p:spPr>
          <a:xfrm>
            <a:off x="5790231" y="766156"/>
            <a:ext cx="2447547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63500" sx="102000" sy="102000" algn="ctr" rotWithShape="0">
              <a:schemeClr val="accent2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85455D23-3D95-DEB1-A7A8-CEA91DB1270A}"/>
              </a:ext>
            </a:extLst>
          </p:cNvPr>
          <p:cNvCxnSpPr>
            <a:cxnSpLocks/>
          </p:cNvCxnSpPr>
          <p:nvPr/>
        </p:nvCxnSpPr>
        <p:spPr>
          <a:xfrm>
            <a:off x="5004048" y="656424"/>
            <a:ext cx="0" cy="3440074"/>
          </a:xfrm>
          <a:prstGeom prst="line">
            <a:avLst/>
          </a:prstGeom>
          <a:ln w="952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92" name="Chart 191">
            <a:extLst>
              <a:ext uri="{FF2B5EF4-FFF2-40B4-BE49-F238E27FC236}">
                <a16:creationId xmlns:a16="http://schemas.microsoft.com/office/drawing/2014/main" id="{2F70BED4-AD27-293D-30A1-4BD3DBA78D35}"/>
              </a:ext>
            </a:extLst>
          </p:cNvPr>
          <p:cNvGraphicFramePr/>
          <p:nvPr/>
        </p:nvGraphicFramePr>
        <p:xfrm>
          <a:off x="672487" y="2634211"/>
          <a:ext cx="1115066" cy="743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3" name="Chart 192">
            <a:extLst>
              <a:ext uri="{FF2B5EF4-FFF2-40B4-BE49-F238E27FC236}">
                <a16:creationId xmlns:a16="http://schemas.microsoft.com/office/drawing/2014/main" id="{7917C5C9-45B0-1E0F-90A7-C39134F6AA17}"/>
              </a:ext>
            </a:extLst>
          </p:cNvPr>
          <p:cNvGraphicFramePr/>
          <p:nvPr/>
        </p:nvGraphicFramePr>
        <p:xfrm>
          <a:off x="2743123" y="2634211"/>
          <a:ext cx="1115066" cy="743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058298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086E3-DCFC-8FC2-6FF4-0377E802F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raphic 88">
            <a:extLst>
              <a:ext uri="{FF2B5EF4-FFF2-40B4-BE49-F238E27FC236}">
                <a16:creationId xmlns:a16="http://schemas.microsoft.com/office/drawing/2014/main" id="{43C2A115-59BA-DEAF-951C-FA95E2E3E82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48870" y="1227406"/>
            <a:ext cx="290418" cy="290418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654FB94-7AE2-14C8-A068-B72D12BFD89F}"/>
              </a:ext>
            </a:extLst>
          </p:cNvPr>
          <p:cNvSpPr>
            <a:spLocks/>
          </p:cNvSpPr>
          <p:nvPr/>
        </p:nvSpPr>
        <p:spPr>
          <a:xfrm>
            <a:off x="509253" y="1183246"/>
            <a:ext cx="4494795" cy="2920175"/>
          </a:xfrm>
          <a:prstGeom prst="roundRect">
            <a:avLst>
              <a:gd name="adj" fmla="val 4075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A3D2D792-B105-64EC-A42C-5E973D18C65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485327" y="1637853"/>
          <a:ext cx="4025628" cy="2163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703542E-7B0F-F133-C347-33015E938618}"/>
              </a:ext>
            </a:extLst>
          </p:cNvPr>
          <p:cNvSpPr txBox="1">
            <a:spLocks/>
          </p:cNvSpPr>
          <p:nvPr/>
        </p:nvSpPr>
        <p:spPr>
          <a:xfrm>
            <a:off x="539551" y="508050"/>
            <a:ext cx="7874471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Les entreprises </a:t>
            </a: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</a:rPr>
              <a:t>porteuses des contrats </a:t>
            </a:r>
            <a:r>
              <a:rPr lang="fr-FR" sz="3200" noProof="1">
                <a:solidFill>
                  <a:srgbClr val="2D0F64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d’Atl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EE72FF-A860-3F0C-9491-21C4B585BEF1}"/>
              </a:ext>
            </a:extLst>
          </p:cNvPr>
          <p:cNvSpPr txBox="1">
            <a:spLocks/>
          </p:cNvSpPr>
          <p:nvPr/>
        </p:nvSpPr>
        <p:spPr>
          <a:xfrm>
            <a:off x="752753" y="1384079"/>
            <a:ext cx="1988354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24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 DES CONTRATS </a:t>
            </a:r>
            <a:br>
              <a:rPr lang="fr-FR" sz="20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</a:br>
            <a:r>
              <a:rPr lang="fr-FR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2025 PAR SECTEUR</a:t>
            </a:r>
            <a:endParaRPr lang="fr-FR" sz="2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F745E38-C35C-CDB9-6889-81F0F1A1F7A6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9DCFC961-0FB8-17CB-AA39-69C3EC699C24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287B2D-6180-E1BA-CEF3-71AA1D8F9DCD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FB165F8D-93D5-6F4D-8579-83A07C4133FB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087BF8BD-06FB-8186-A45D-41929455ECA5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5C96197D-676E-6851-801D-8A8973615E6F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26D66142-B105-CAD8-A67A-997A2A160165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B6EDDA31-A904-6705-2648-9294257B2E6C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C44E3B43-7828-CBDA-3F91-140B93F20C2A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8E9968F8-D180-15B7-EF65-946AC14CF19C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C2D7FE52-3788-ADD0-C9A8-9968DEFD251C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A66D3F4C-D2B1-4A4A-D0BF-AB417288C08E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2E7363F0-8A96-4C55-D3FB-CCA1A76FFAC1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804B4C63-AB36-6C32-0FDC-DF9DB03DBD89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7FDB7EA6-6912-B751-A22D-4760DB566A40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286E534A-0CBD-8E7C-9536-10870027965B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53306AC3-6E07-EDEB-3DF1-76F5FB4A73F5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69B7DC53-AD5A-3BF6-B253-0147E320B6AC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3501047F-3A8D-CF69-F1C1-BF366FD20D91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05470D59-86C5-D26D-FA5E-A04F080CDD3F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41E04D2-F855-7046-160A-96CD37BB9C60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D72D4D52-AD00-C252-3DC3-05C008295C34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3E5B2B36-BCCE-01E6-1DF7-443ADA11748C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2B90B4E1-E75E-984F-4AC2-7E7730215E44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47A33F2C-F998-0139-8E65-D6C7727C7C7C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1BC570F5-8A6B-830D-6596-33D993BD45A4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7C9356D3-833B-B69C-4A7A-389F3E645743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8E008C0A-EF1C-BE33-4366-BCD63A06A2EC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6E78BF9D-3CD9-D10A-0256-BBA985B66095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F88F2398-8D9A-B5A0-9885-8C4821F1A23E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919B779A-5CE1-7987-FE5E-3E8598BD1792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CAFF9D10-F582-5FE4-5137-DDE474688AA0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C68CCE31-8163-1DD0-535D-C7CEDF0FD9A5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63FECDD6-3B33-B216-3AA7-98FE27A56B92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65F1C810-7679-8586-2356-0F9A2F6C25A2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3502C98C-A2D1-EA04-4991-8B3B67035BC2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E7EFBE80-FF77-4A02-E4D7-078178157527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A36A74E9-700D-D3E5-FA16-2632E9B4CC45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B55AAA49-A54F-02D3-BB1A-970E3054D0AF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1A762736-D903-D40D-DB41-C9D4A16E32FD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0923B260-67DB-73FD-BEB6-DCA1CE71E8A6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9B2B94A2-A33D-F11A-9352-2845AB72EF9D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0A3447A-B153-7FE2-AF83-82A9DFCFDFD9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8CFD8CBD-70BE-8A80-2770-56C7BC88A134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D5296FD9-CCE6-4ACD-87B0-1E1ECE98B2CC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4B6FA6EC-20A6-C6E5-9CA0-FE4B3ABA3866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B4FB2625-2B5A-272E-DDA8-10CCFF199560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BF73B78B-490D-D2A5-08EE-5F3C5FA4E71A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9AF73655-93D1-AC7D-CE03-AEA2873F1B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5AE4AF9E-EFCE-7184-8D84-46909C41B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68C70941-65E2-78CD-107A-0FF8B6B0CC9C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B0348F2B-4F19-B280-55AE-4F1EF59520AA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1A80C251-09C1-4615-814D-9039CCF61D8D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EFFE00CF-D041-E49F-C24D-F9401581CA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46737E99-FB14-AA7E-23B5-8948E47520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8535D743-A79E-E6FB-5583-9A9EC957D8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F2B98DD6-8C9A-8A32-D580-722B80F641FA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005E7BDA-E29B-2527-E9FC-31DEEAE686F8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A7A1A63F-FD42-D50E-0ADD-3006AB52038A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119BD28B-8B36-359E-F194-FB5022BA2930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75BCB2E8-FDA0-F0BE-9DD5-B2EB92D37472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9AD2CC56-7439-2C1D-F946-98BECB0D33FB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137F2DCB-D709-E6E1-7285-5395E896C706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D61C953E-95F5-EDA4-63E9-E274368F202F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20A87D41-0DBA-4D8E-C808-6FDBDD5393DC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CC19465B-2988-6537-EAB5-CD156E96ED62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C14EA9CC-B3E8-B398-9E7C-FB1B560112EA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E0C8BF8D-0437-51B5-4A9B-957D70042695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0A1A44C7-785D-9C7E-53D2-6B5AD82B9E81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3583C9DC-FA7E-A907-6C7E-7ED2B4671CCF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E0E3260B-1ED1-C5B5-02C4-8C7C4E2A76DB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85C46D2C-7F4B-392F-1631-0AA943EE04DF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F8AA89FA-05BC-791A-CDD6-51F41514211A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C0B110BF-6D7C-A250-CB26-E615DF065D56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328C4CA8-D436-B795-B811-327FBE7C4028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7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94B151E0-6AFC-F8F2-4F6F-BBBE20BEFDCB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6D26ED5-90BC-5BF0-A69C-D0CDC8EFDBB9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BADC84E-DF43-0822-EB56-D760C41B32D8}"/>
              </a:ext>
            </a:extLst>
          </p:cNvPr>
          <p:cNvSpPr txBox="1">
            <a:spLocks/>
          </p:cNvSpPr>
          <p:nvPr/>
        </p:nvSpPr>
        <p:spPr>
          <a:xfrm>
            <a:off x="920568" y="2942510"/>
            <a:ext cx="138459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>
              <a:defRPr/>
            </a:pPr>
            <a: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  <a:t>Conseil</a:t>
            </a:r>
            <a:endParaRPr lang="fr-FR" sz="800" noProof="1">
              <a:solidFill>
                <a:schemeClr val="accent3"/>
              </a:solidFill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5BB4B14-249C-08AC-335B-D67CB7F2299B}"/>
              </a:ext>
            </a:extLst>
          </p:cNvPr>
          <p:cNvSpPr>
            <a:spLocks/>
          </p:cNvSpPr>
          <p:nvPr/>
        </p:nvSpPr>
        <p:spPr>
          <a:xfrm>
            <a:off x="750446" y="2961076"/>
            <a:ext cx="85984" cy="8598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73D4E9-01D9-926E-D6EF-210595BE5AC8}"/>
              </a:ext>
            </a:extLst>
          </p:cNvPr>
          <p:cNvSpPr txBox="1">
            <a:spLocks/>
          </p:cNvSpPr>
          <p:nvPr/>
        </p:nvSpPr>
        <p:spPr>
          <a:xfrm>
            <a:off x="920568" y="3177392"/>
            <a:ext cx="138459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defRPr/>
            </a:pPr>
            <a: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  <a:t>Experts comptables </a:t>
            </a:r>
            <a:b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</a:br>
            <a: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  <a:t>Commissaires aux comptes</a:t>
            </a:r>
            <a:endParaRPr lang="fr-FR" sz="800" noProof="1">
              <a:solidFill>
                <a:schemeClr val="accent3"/>
              </a:solidFill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FC60EDE-60CF-5084-2D08-CFC64C636B46}"/>
              </a:ext>
            </a:extLst>
          </p:cNvPr>
          <p:cNvSpPr>
            <a:spLocks/>
          </p:cNvSpPr>
          <p:nvPr/>
        </p:nvSpPr>
        <p:spPr>
          <a:xfrm>
            <a:off x="750446" y="3257513"/>
            <a:ext cx="85984" cy="85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401BF1-6C54-69FB-0D5F-AD1C1121B710}"/>
              </a:ext>
            </a:extLst>
          </p:cNvPr>
          <p:cNvSpPr txBox="1">
            <a:spLocks/>
          </p:cNvSpPr>
          <p:nvPr/>
        </p:nvSpPr>
        <p:spPr>
          <a:xfrm>
            <a:off x="2635516" y="1336096"/>
            <a:ext cx="42789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r">
              <a:defRPr/>
            </a:pPr>
            <a:r>
              <a:rPr lang="fr-FR" sz="24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13</a:t>
            </a:r>
            <a:r>
              <a:rPr lang="fr-FR" sz="12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2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F5113-CCD8-9E1C-210A-D6D7C9BE67A7}"/>
              </a:ext>
            </a:extLst>
          </p:cNvPr>
          <p:cNvSpPr txBox="1">
            <a:spLocks/>
          </p:cNvSpPr>
          <p:nvPr/>
        </p:nvSpPr>
        <p:spPr>
          <a:xfrm>
            <a:off x="920568" y="3535384"/>
            <a:ext cx="133923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>
              <a:defRPr/>
            </a:pPr>
            <a: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  <a:t>Banque et Finance</a:t>
            </a:r>
            <a:endParaRPr lang="fr-FR" sz="800" noProof="1">
              <a:solidFill>
                <a:schemeClr val="accent3"/>
              </a:solidFill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97D8AA4-FBCA-96EC-ECAC-83FA2EACA945}"/>
              </a:ext>
            </a:extLst>
          </p:cNvPr>
          <p:cNvSpPr>
            <a:spLocks/>
          </p:cNvSpPr>
          <p:nvPr/>
        </p:nvSpPr>
        <p:spPr>
          <a:xfrm>
            <a:off x="745148" y="3548649"/>
            <a:ext cx="96581" cy="965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F4AEDB-5897-0712-B5E1-F58BF9197FB7}"/>
              </a:ext>
            </a:extLst>
          </p:cNvPr>
          <p:cNvSpPr txBox="1">
            <a:spLocks/>
          </p:cNvSpPr>
          <p:nvPr/>
        </p:nvSpPr>
        <p:spPr>
          <a:xfrm>
            <a:off x="920568" y="3770266"/>
            <a:ext cx="1339231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defRPr/>
            </a:pPr>
            <a:r>
              <a:rPr lang="fr-FR" sz="800" noProof="1">
                <a:solidFill>
                  <a:schemeClr val="accent1"/>
                </a:solidFill>
                <a:ea typeface="Circular Std Light" panose="020B0404020101020102" pitchFamily="34" charset="0"/>
                <a:cs typeface="Circular Std Bold" panose="020B0804020101010102" pitchFamily="34" charset="0"/>
              </a:rPr>
              <a:t>Assurance</a:t>
            </a:r>
            <a:endParaRPr lang="fr-FR" sz="800" noProof="1">
              <a:solidFill>
                <a:schemeClr val="accent3"/>
              </a:solidFill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B51CD07-908E-CE3D-28FF-D11F4920A444}"/>
              </a:ext>
            </a:extLst>
          </p:cNvPr>
          <p:cNvSpPr>
            <a:spLocks/>
          </p:cNvSpPr>
          <p:nvPr/>
        </p:nvSpPr>
        <p:spPr>
          <a:xfrm>
            <a:off x="745148" y="3770265"/>
            <a:ext cx="96581" cy="9657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CF2443-2AEA-843E-415E-4EFB6ACB6911}"/>
              </a:ext>
            </a:extLst>
          </p:cNvPr>
          <p:cNvSpPr txBox="1">
            <a:spLocks/>
          </p:cNvSpPr>
          <p:nvPr/>
        </p:nvSpPr>
        <p:spPr>
          <a:xfrm>
            <a:off x="1928991" y="2281242"/>
            <a:ext cx="42789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r">
              <a:defRPr/>
            </a:pPr>
            <a:r>
              <a:rPr lang="fr-FR" sz="2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16</a:t>
            </a:r>
            <a:r>
              <a:rPr lang="fr-FR" sz="12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2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C84FB4-7EF6-D7CB-56FC-F4AA4989BA14}"/>
              </a:ext>
            </a:extLst>
          </p:cNvPr>
          <p:cNvSpPr txBox="1">
            <a:spLocks/>
          </p:cNvSpPr>
          <p:nvPr/>
        </p:nvSpPr>
        <p:spPr>
          <a:xfrm>
            <a:off x="4251574" y="1366359"/>
            <a:ext cx="501979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6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53</a:t>
            </a:r>
            <a:r>
              <a:rPr lang="fr-FR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3200" i="1" noProof="1">
              <a:solidFill>
                <a:schemeClr val="accent2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F744241-0538-1796-5083-A1A5C0471C05}"/>
              </a:ext>
            </a:extLst>
          </p:cNvPr>
          <p:cNvSpPr txBox="1">
            <a:spLocks/>
          </p:cNvSpPr>
          <p:nvPr/>
        </p:nvSpPr>
        <p:spPr>
          <a:xfrm>
            <a:off x="5459885" y="1792196"/>
            <a:ext cx="858376" cy="677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54</a:t>
            </a:r>
            <a:r>
              <a:rPr kumimoji="0" lang="fr-FR" sz="2800" b="0" i="0" u="none" strike="noStrike" kern="1200" cap="none" spc="0" normalizeH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4400" b="0" i="0" u="none" strike="noStrike" kern="1200" cap="none" spc="0" normalizeH="0" noProof="0" dirty="0">
              <a:ln>
                <a:noFill/>
              </a:ln>
              <a:solidFill>
                <a:schemeClr val="accent3">
                  <a:lumMod val="40000"/>
                  <a:lumOff val="6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556A65C-0B8B-C950-BBF3-C9CA142746D9}"/>
              </a:ext>
            </a:extLst>
          </p:cNvPr>
          <p:cNvSpPr txBox="1">
            <a:spLocks/>
          </p:cNvSpPr>
          <p:nvPr/>
        </p:nvSpPr>
        <p:spPr>
          <a:xfrm>
            <a:off x="6444208" y="1969168"/>
            <a:ext cx="1723476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es contrats avec des 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entreprises&lt; 50 salariés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5B956606-6E42-E520-685F-D2B91E886794}"/>
              </a:ext>
            </a:extLst>
          </p:cNvPr>
          <p:cNvSpPr/>
          <p:nvPr/>
        </p:nvSpPr>
        <p:spPr>
          <a:xfrm flipH="1">
            <a:off x="3030654" y="2344046"/>
            <a:ext cx="2116612" cy="1759376"/>
          </a:xfrm>
          <a:custGeom>
            <a:avLst/>
            <a:gdLst>
              <a:gd name="csX0" fmla="*/ 958768 w 2116612"/>
              <a:gd name="csY0" fmla="*/ 522187 h 1759376"/>
              <a:gd name="csX1" fmla="*/ 987989 w 2116612"/>
              <a:gd name="csY1" fmla="*/ 625172 h 1759376"/>
              <a:gd name="csX2" fmla="*/ 2050482 w 2116612"/>
              <a:gd name="csY2" fmla="*/ 1439045 h 1759376"/>
              <a:gd name="csX3" fmla="*/ 1213040 w 2116612"/>
              <a:gd name="csY3" fmla="*/ 1431809 h 1759376"/>
              <a:gd name="csX4" fmla="*/ 681860 w 2116612"/>
              <a:gd name="csY4" fmla="*/ 1759376 h 1759376"/>
              <a:gd name="csX5" fmla="*/ 782510 w 2116612"/>
              <a:gd name="csY5" fmla="*/ 1759376 h 1759376"/>
              <a:gd name="csX6" fmla="*/ 837403 w 2116612"/>
              <a:gd name="csY6" fmla="*/ 1724203 h 1759376"/>
              <a:gd name="csX7" fmla="*/ 1083120 w 2116612"/>
              <a:gd name="csY7" fmla="*/ 1570952 h 1759376"/>
              <a:gd name="csX8" fmla="*/ 1132216 w 2116612"/>
              <a:gd name="csY8" fmla="*/ 1550576 h 1759376"/>
              <a:gd name="csX9" fmla="*/ 1017999 w 2116612"/>
              <a:gd name="csY9" fmla="*/ 1759376 h 1759376"/>
              <a:gd name="csX10" fmla="*/ 1084230 w 2116612"/>
              <a:gd name="csY10" fmla="*/ 1759376 h 1759376"/>
              <a:gd name="csX11" fmla="*/ 1225016 w 2116612"/>
              <a:gd name="csY11" fmla="*/ 1485559 h 1759376"/>
              <a:gd name="csX12" fmla="*/ 2031950 w 2116612"/>
              <a:gd name="csY12" fmla="*/ 1485559 h 1759376"/>
              <a:gd name="csX13" fmla="*/ 1887797 w 2116612"/>
              <a:gd name="csY13" fmla="*/ 1759376 h 1759376"/>
              <a:gd name="csX14" fmla="*/ 1949465 w 2116612"/>
              <a:gd name="csY14" fmla="*/ 1759376 h 1759376"/>
              <a:gd name="csX15" fmla="*/ 2108261 w 2116612"/>
              <a:gd name="csY15" fmla="*/ 1473838 h 1759376"/>
              <a:gd name="csX16" fmla="*/ 2106757 w 2116612"/>
              <a:gd name="csY16" fmla="*/ 1405984 h 1759376"/>
              <a:gd name="csX17" fmla="*/ 250677 w 2116612"/>
              <a:gd name="csY17" fmla="*/ 353 h 1759376"/>
              <a:gd name="csX18" fmla="*/ 216335 w 2116612"/>
              <a:gd name="csY18" fmla="*/ 12340 h 1759376"/>
              <a:gd name="csX19" fmla="*/ 7918 w 2116612"/>
              <a:gd name="csY19" fmla="*/ 393018 h 1759376"/>
              <a:gd name="csX20" fmla="*/ 0 w 2116612"/>
              <a:gd name="csY20" fmla="*/ 441461 h 1759376"/>
              <a:gd name="csX21" fmla="*/ 246701 w 2116612"/>
              <a:gd name="csY21" fmla="*/ 1759376 h 1759376"/>
              <a:gd name="csX22" fmla="*/ 302619 w 2116612"/>
              <a:gd name="csY22" fmla="*/ 1759376 h 1759376"/>
              <a:gd name="csX23" fmla="*/ 56134 w 2116612"/>
              <a:gd name="csY23" fmla="*/ 441177 h 1759376"/>
              <a:gd name="csX24" fmla="*/ 218690 w 2116612"/>
              <a:gd name="csY24" fmla="*/ 130652 h 1759376"/>
              <a:gd name="csX25" fmla="*/ 529425 w 2116612"/>
              <a:gd name="csY25" fmla="*/ 1759376 h 1759376"/>
              <a:gd name="csX26" fmla="*/ 589458 w 2116612"/>
              <a:gd name="csY26" fmla="*/ 1759376 h 1759376"/>
              <a:gd name="csX27" fmla="*/ 269716 w 2116612"/>
              <a:gd name="csY27" fmla="*/ 74972 h 1759376"/>
              <a:gd name="csX28" fmla="*/ 708483 w 2116612"/>
              <a:gd name="csY28" fmla="*/ 411069 h 1759376"/>
              <a:gd name="csX29" fmla="*/ 706696 w 2116612"/>
              <a:gd name="csY29" fmla="*/ 375690 h 1759376"/>
              <a:gd name="csX30" fmla="*/ 708870 w 2116612"/>
              <a:gd name="csY30" fmla="*/ 329798 h 1759376"/>
              <a:gd name="csX31" fmla="*/ 287850 w 2116612"/>
              <a:gd name="csY31" fmla="*/ 5670 h 1759376"/>
              <a:gd name="csX32" fmla="*/ 250677 w 2116612"/>
              <a:gd name="csY32" fmla="*/ 353 h 17593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2116612" h="1759376">
                <a:moveTo>
                  <a:pt x="958768" y="522187"/>
                </a:moveTo>
                <a:lnTo>
                  <a:pt x="987989" y="625172"/>
                </a:lnTo>
                <a:lnTo>
                  <a:pt x="2050482" y="1439045"/>
                </a:lnTo>
                <a:lnTo>
                  <a:pt x="1213040" y="1431809"/>
                </a:lnTo>
                <a:lnTo>
                  <a:pt x="681860" y="1759376"/>
                </a:lnTo>
                <a:lnTo>
                  <a:pt x="782510" y="1759376"/>
                </a:lnTo>
                <a:lnTo>
                  <a:pt x="837403" y="1724203"/>
                </a:lnTo>
                <a:cubicBezTo>
                  <a:pt x="918762" y="1671130"/>
                  <a:pt x="999841" y="1617763"/>
                  <a:pt x="1083120" y="1570952"/>
                </a:cubicBezTo>
                <a:cubicBezTo>
                  <a:pt x="1092031" y="1565957"/>
                  <a:pt x="1125746" y="1544304"/>
                  <a:pt x="1132216" y="1550576"/>
                </a:cubicBezTo>
                <a:lnTo>
                  <a:pt x="1017999" y="1759376"/>
                </a:lnTo>
                <a:lnTo>
                  <a:pt x="1084230" y="1759376"/>
                </a:lnTo>
                <a:lnTo>
                  <a:pt x="1225016" y="1485559"/>
                </a:lnTo>
                <a:lnTo>
                  <a:pt x="2031950" y="1485559"/>
                </a:lnTo>
                <a:lnTo>
                  <a:pt x="1887797" y="1759376"/>
                </a:lnTo>
                <a:lnTo>
                  <a:pt x="1949465" y="1759376"/>
                </a:lnTo>
                <a:lnTo>
                  <a:pt x="2108261" y="1473838"/>
                </a:lnTo>
                <a:cubicBezTo>
                  <a:pt x="2117570" y="1452497"/>
                  <a:pt x="2121656" y="1425849"/>
                  <a:pt x="2106757" y="1405984"/>
                </a:cubicBezTo>
                <a:close/>
                <a:moveTo>
                  <a:pt x="250677" y="353"/>
                </a:moveTo>
                <a:cubicBezTo>
                  <a:pt x="236775" y="1520"/>
                  <a:pt x="223345" y="5571"/>
                  <a:pt x="216335" y="12340"/>
                </a:cubicBezTo>
                <a:lnTo>
                  <a:pt x="7918" y="393018"/>
                </a:lnTo>
                <a:lnTo>
                  <a:pt x="0" y="441461"/>
                </a:lnTo>
                <a:lnTo>
                  <a:pt x="246701" y="1759376"/>
                </a:lnTo>
                <a:lnTo>
                  <a:pt x="302619" y="1759376"/>
                </a:lnTo>
                <a:lnTo>
                  <a:pt x="56134" y="441177"/>
                </a:lnTo>
                <a:cubicBezTo>
                  <a:pt x="96064" y="331549"/>
                  <a:pt x="162187" y="232165"/>
                  <a:pt x="218690" y="130652"/>
                </a:cubicBezTo>
                <a:lnTo>
                  <a:pt x="529425" y="1759376"/>
                </a:lnTo>
                <a:lnTo>
                  <a:pt x="589458" y="1759376"/>
                </a:lnTo>
                <a:lnTo>
                  <a:pt x="269716" y="74972"/>
                </a:lnTo>
                <a:lnTo>
                  <a:pt x="708483" y="411069"/>
                </a:lnTo>
                <a:lnTo>
                  <a:pt x="706696" y="375690"/>
                </a:lnTo>
                <a:lnTo>
                  <a:pt x="708870" y="329798"/>
                </a:lnTo>
                <a:lnTo>
                  <a:pt x="287850" y="5670"/>
                </a:lnTo>
                <a:cubicBezTo>
                  <a:pt x="278953" y="903"/>
                  <a:pt x="264579" y="-814"/>
                  <a:pt x="250677" y="353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6C8FD35-FFB0-927D-E05E-E256AED20394}"/>
              </a:ext>
            </a:extLst>
          </p:cNvPr>
          <p:cNvSpPr txBox="1">
            <a:spLocks/>
          </p:cNvSpPr>
          <p:nvPr/>
        </p:nvSpPr>
        <p:spPr>
          <a:xfrm>
            <a:off x="5459885" y="3401801"/>
            <a:ext cx="1792400" cy="677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42</a:t>
            </a:r>
            <a:r>
              <a:rPr lang="fr-FR" sz="2800" dirty="0">
                <a:solidFill>
                  <a:schemeClr val="accent1">
                    <a:lumMod val="20000"/>
                    <a:lumOff val="80000"/>
                  </a:schemeClr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74CF8D-436C-D74A-858B-0A9D8DF449F0}"/>
              </a:ext>
            </a:extLst>
          </p:cNvPr>
          <p:cNvSpPr txBox="1">
            <a:spLocks/>
          </p:cNvSpPr>
          <p:nvPr/>
        </p:nvSpPr>
        <p:spPr>
          <a:xfrm>
            <a:off x="6444208" y="3578773"/>
            <a:ext cx="2193543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es contrats avec des 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entreprises francilienne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9AC5A17-75BB-2994-18CA-4C3E239DE242}"/>
              </a:ext>
            </a:extLst>
          </p:cNvPr>
          <p:cNvSpPr/>
          <p:nvPr/>
        </p:nvSpPr>
        <p:spPr>
          <a:xfrm>
            <a:off x="4110019" y="1999632"/>
            <a:ext cx="45719" cy="4571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7A0D32D-EF73-279B-F3E0-EF293C9BB61C}"/>
              </a:ext>
            </a:extLst>
          </p:cNvPr>
          <p:cNvCxnSpPr>
            <a:cxnSpLocks/>
            <a:stCxn id="63" idx="7"/>
          </p:cNvCxnSpPr>
          <p:nvPr/>
        </p:nvCxnSpPr>
        <p:spPr>
          <a:xfrm flipV="1">
            <a:off x="4149043" y="1923678"/>
            <a:ext cx="62917" cy="82649"/>
          </a:xfrm>
          <a:prstGeom prst="line">
            <a:avLst/>
          </a:prstGeom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7ECD7A8-FD59-9A74-7F67-E86ECB1E006C}"/>
              </a:ext>
            </a:extLst>
          </p:cNvPr>
          <p:cNvCxnSpPr>
            <a:cxnSpLocks/>
          </p:cNvCxnSpPr>
          <p:nvPr/>
        </p:nvCxnSpPr>
        <p:spPr>
          <a:xfrm>
            <a:off x="4211960" y="1923678"/>
            <a:ext cx="520128" cy="0"/>
          </a:xfrm>
          <a:prstGeom prst="line">
            <a:avLst/>
          </a:prstGeom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18EEFBC-689F-E314-0C7D-08D4991788DC}"/>
              </a:ext>
            </a:extLst>
          </p:cNvPr>
          <p:cNvGrpSpPr/>
          <p:nvPr/>
        </p:nvGrpSpPr>
        <p:grpSpPr>
          <a:xfrm flipH="1">
            <a:off x="2804024" y="1733811"/>
            <a:ext cx="408324" cy="121673"/>
            <a:chOff x="3091520" y="1923678"/>
            <a:chExt cx="408324" cy="121673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F41A3BA-A0C4-3657-F274-C6A6B9700C0E}"/>
                </a:ext>
              </a:extLst>
            </p:cNvPr>
            <p:cNvSpPr/>
            <p:nvPr/>
          </p:nvSpPr>
          <p:spPr>
            <a:xfrm>
              <a:off x="3091520" y="1999632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6FE81768-0151-54A8-6553-27BBEB806702}"/>
                </a:ext>
              </a:extLst>
            </p:cNvPr>
            <p:cNvCxnSpPr>
              <a:cxnSpLocks/>
              <a:stCxn id="71" idx="7"/>
            </p:cNvCxnSpPr>
            <p:nvPr/>
          </p:nvCxnSpPr>
          <p:spPr>
            <a:xfrm flipV="1">
              <a:off x="3130544" y="1923678"/>
              <a:ext cx="62917" cy="82649"/>
            </a:xfrm>
            <a:prstGeom prst="line">
              <a:avLst/>
            </a:prstGeom>
            <a:ln w="635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E32E13EB-EF95-75D5-8F23-6E4C5F5E2CF7}"/>
                </a:ext>
              </a:extLst>
            </p:cNvPr>
            <p:cNvCxnSpPr>
              <a:cxnSpLocks/>
            </p:cNvCxnSpPr>
            <p:nvPr/>
          </p:nvCxnSpPr>
          <p:spPr>
            <a:xfrm>
              <a:off x="3193461" y="1923678"/>
              <a:ext cx="306383" cy="0"/>
            </a:xfrm>
            <a:prstGeom prst="line">
              <a:avLst/>
            </a:prstGeom>
            <a:ln w="635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Oval 76">
            <a:extLst>
              <a:ext uri="{FF2B5EF4-FFF2-40B4-BE49-F238E27FC236}">
                <a16:creationId xmlns:a16="http://schemas.microsoft.com/office/drawing/2014/main" id="{7E668397-5976-1622-21CC-9E7DF790E9CE}"/>
              </a:ext>
            </a:extLst>
          </p:cNvPr>
          <p:cNvSpPr/>
          <p:nvPr/>
        </p:nvSpPr>
        <p:spPr>
          <a:xfrm flipH="1">
            <a:off x="2540573" y="2753021"/>
            <a:ext cx="45719" cy="45719"/>
          </a:xfrm>
          <a:prstGeom prst="ellipse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3CCBD0F-FF31-0EFA-5284-90836213E95A}"/>
              </a:ext>
            </a:extLst>
          </p:cNvPr>
          <p:cNvCxnSpPr>
            <a:cxnSpLocks/>
            <a:stCxn id="77" idx="7"/>
          </p:cNvCxnSpPr>
          <p:nvPr/>
        </p:nvCxnSpPr>
        <p:spPr>
          <a:xfrm flipH="1" flipV="1">
            <a:off x="2484351" y="2677067"/>
            <a:ext cx="62917" cy="82649"/>
          </a:xfrm>
          <a:prstGeom prst="line">
            <a:avLst/>
          </a:prstGeom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3ADD7EC-1D2D-2DC8-345E-27B1AE95ACA5}"/>
              </a:ext>
            </a:extLst>
          </p:cNvPr>
          <p:cNvCxnSpPr>
            <a:cxnSpLocks/>
          </p:cNvCxnSpPr>
          <p:nvPr/>
        </p:nvCxnSpPr>
        <p:spPr>
          <a:xfrm flipH="1">
            <a:off x="2090738" y="2677067"/>
            <a:ext cx="393613" cy="0"/>
          </a:xfrm>
          <a:prstGeom prst="line">
            <a:avLst/>
          </a:prstGeom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C698241-2D21-5163-DCFA-48F8E3D4D57A}"/>
              </a:ext>
            </a:extLst>
          </p:cNvPr>
          <p:cNvSpPr txBox="1">
            <a:spLocks/>
          </p:cNvSpPr>
          <p:nvPr/>
        </p:nvSpPr>
        <p:spPr>
          <a:xfrm>
            <a:off x="2163915" y="3494223"/>
            <a:ext cx="42789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r">
              <a:defRPr/>
            </a:pPr>
            <a:r>
              <a:rPr lang="fr-FR" sz="24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17</a:t>
            </a:r>
            <a:r>
              <a:rPr lang="fr-FR" sz="12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2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6A5A299-A23E-C6F2-D6FA-426B1A2AF5A0}"/>
              </a:ext>
            </a:extLst>
          </p:cNvPr>
          <p:cNvSpPr/>
          <p:nvPr/>
        </p:nvSpPr>
        <p:spPr>
          <a:xfrm flipH="1" flipV="1">
            <a:off x="2798144" y="3362777"/>
            <a:ext cx="45719" cy="45719"/>
          </a:xfrm>
          <a:prstGeom prst="ellips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13588B6-4E69-45E8-5921-87BEEC2A3E9E}"/>
              </a:ext>
            </a:extLst>
          </p:cNvPr>
          <p:cNvCxnSpPr>
            <a:cxnSpLocks/>
            <a:stCxn id="82" idx="7"/>
          </p:cNvCxnSpPr>
          <p:nvPr/>
        </p:nvCxnSpPr>
        <p:spPr>
          <a:xfrm flipH="1">
            <a:off x="2741922" y="3401801"/>
            <a:ext cx="62917" cy="82649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6FA5855-3920-BF82-258B-DD78DED3C566}"/>
              </a:ext>
            </a:extLst>
          </p:cNvPr>
          <p:cNvCxnSpPr>
            <a:cxnSpLocks/>
          </p:cNvCxnSpPr>
          <p:nvPr/>
        </p:nvCxnSpPr>
        <p:spPr>
          <a:xfrm flipH="1">
            <a:off x="2356884" y="3484450"/>
            <a:ext cx="385038" cy="0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8B5B6A9-1C9D-2350-DAA7-F10DBFE599F2}"/>
              </a:ext>
            </a:extLst>
          </p:cNvPr>
          <p:cNvCxnSpPr>
            <a:cxnSpLocks/>
          </p:cNvCxnSpPr>
          <p:nvPr/>
        </p:nvCxnSpPr>
        <p:spPr>
          <a:xfrm>
            <a:off x="5448869" y="1700497"/>
            <a:ext cx="2942377" cy="0"/>
          </a:xfrm>
          <a:prstGeom prst="line">
            <a:avLst/>
          </a:prstGeom>
          <a:ln w="412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9792F652-2683-352D-7687-A415E62B166F}"/>
              </a:ext>
            </a:extLst>
          </p:cNvPr>
          <p:cNvCxnSpPr>
            <a:cxnSpLocks/>
          </p:cNvCxnSpPr>
          <p:nvPr/>
        </p:nvCxnSpPr>
        <p:spPr>
          <a:xfrm>
            <a:off x="5448869" y="1700497"/>
            <a:ext cx="1588884" cy="0"/>
          </a:xfrm>
          <a:prstGeom prst="line">
            <a:avLst/>
          </a:prstGeom>
          <a:ln w="41275" cap="rnd">
            <a:solidFill>
              <a:schemeClr val="accent3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9273C3CD-9AF7-C8B8-78D7-7B794DE2E784}"/>
              </a:ext>
            </a:extLst>
          </p:cNvPr>
          <p:cNvCxnSpPr>
            <a:cxnSpLocks/>
          </p:cNvCxnSpPr>
          <p:nvPr/>
        </p:nvCxnSpPr>
        <p:spPr>
          <a:xfrm>
            <a:off x="5448869" y="3259109"/>
            <a:ext cx="2942377" cy="0"/>
          </a:xfrm>
          <a:prstGeom prst="line">
            <a:avLst/>
          </a:prstGeom>
          <a:ln w="412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5560DC52-871B-8C7B-8989-F2E21D42D8B1}"/>
              </a:ext>
            </a:extLst>
          </p:cNvPr>
          <p:cNvCxnSpPr>
            <a:cxnSpLocks/>
          </p:cNvCxnSpPr>
          <p:nvPr/>
        </p:nvCxnSpPr>
        <p:spPr>
          <a:xfrm>
            <a:off x="5448869" y="3259109"/>
            <a:ext cx="1235798" cy="0"/>
          </a:xfrm>
          <a:prstGeom prst="line">
            <a:avLst/>
          </a:prstGeom>
          <a:ln w="41275"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6" name="Graphic 185">
            <a:extLst>
              <a:ext uri="{FF2B5EF4-FFF2-40B4-BE49-F238E27FC236}">
                <a16:creationId xmlns:a16="http://schemas.microsoft.com/office/drawing/2014/main" id="{6DA60617-1E06-4700-4F3B-7DF4EF173B8B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48870" y="2824314"/>
            <a:ext cx="290418" cy="29041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097428D-31F9-B9C7-AA74-B61CC633E6DC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E0FCC5-DE26-BE6D-3941-33DB06DD4A4B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2949808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AC964A-E3C2-FC05-9C7E-C5D284ED7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F91A039A-73EC-68F6-78CC-DFC2354E711E}"/>
              </a:ext>
            </a:extLst>
          </p:cNvPr>
          <p:cNvSpPr>
            <a:spLocks/>
          </p:cNvSpPr>
          <p:nvPr/>
        </p:nvSpPr>
        <p:spPr>
          <a:xfrm>
            <a:off x="4670681" y="1191168"/>
            <a:ext cx="3749760" cy="3003122"/>
          </a:xfrm>
          <a:prstGeom prst="roundRect">
            <a:avLst>
              <a:gd name="adj" fmla="val 4075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60A791-B23A-0AC3-316F-117BD2C8ABA3}"/>
              </a:ext>
            </a:extLst>
          </p:cNvPr>
          <p:cNvSpPr txBox="1">
            <a:spLocks/>
          </p:cNvSpPr>
          <p:nvPr/>
        </p:nvSpPr>
        <p:spPr>
          <a:xfrm>
            <a:off x="539551" y="508050"/>
            <a:ext cx="7874471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Profil des alternants </a:t>
            </a:r>
            <a:r>
              <a:rPr lang="fr-FR" sz="3200" noProof="1">
                <a:solidFill>
                  <a:schemeClr val="accent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en 2025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C4573F1-88D1-962A-DB66-B3FD84906326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7D971A5-21CE-4EA1-711A-F8224A84455C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B408496E-C6EC-6671-AEFF-CE894ADB52F5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3D47EAE-61F5-B401-61FE-014D66915B60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663123A9-F2EA-4DB2-88B9-0B91828A40B8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44FD4C03-8A50-2B42-568E-2FC1CAED076E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5547F160-40A2-1336-DB3E-1725A84871E4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81F89539-D588-1D54-1EE9-0095E0D5FD41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6713B7F8-7F65-ABC3-6293-243909082B14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D03B2C91-1ECB-DEA7-D349-CF234E656B12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00CE1342-7ED3-0FA6-B80D-786FEB0D6A42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9B409BD1-D0E4-EF3E-D520-9CAD10DFA308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30940655-231C-8BF9-3012-F0A8F2CF9E71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B148AAF7-8710-D2BF-6ACB-903FA6DFD66A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B499C0DB-4CDC-A3CA-C063-13205EED5651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673687E4-B892-566D-C05B-82336F7B1158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17166CF5-4661-641A-93F6-7F904FFC32F0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4F395B46-156A-6DE2-A1DA-7C0516D272F8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F5046840-15B3-B70F-7258-40520EFBBCAE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C0813D2-699D-7A16-6B77-E3FC4262A4FD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C9E7F18-6FD0-AD26-D37D-A197DB6717FA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DCC4582D-BBC7-5412-7329-BDDC66F1BB41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4FC2A201-A08F-FDE0-2C72-062FD9E0042F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2017AEBA-586F-38B2-20BF-CFA1722A698B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16C6E992-BE3D-0222-5034-C7E9ACDB4FEF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8F181A01-1A28-5795-E395-AFC25728D4D7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3BC2134B-E336-F1D3-873F-10C4547B1D06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16295CD1-3BAD-88CF-90EF-6985B829657E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3D182389-5A07-FA3D-6B15-B977B2581A9E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313A386B-72DF-A09D-A3B4-44A2454FFCCA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8877363D-87B0-AFAC-8F28-45CCF3E5FC9D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77A112ED-DBB7-EAF6-C23E-F18996D6224B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9CEDB7C9-DFB9-498D-577C-A0BF218C213A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FECAAED8-9C1F-5CAC-BCC4-1F5543A7DFF6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C96DECFC-EF8F-A79F-377D-FDA7252B9C25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5044544F-EB65-5DB9-B516-0FC6455BBC1F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F7EBD050-DE7B-F6E5-1FAB-CFA25D2982C9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E3705132-4F6F-EEF4-3C04-4F43082D85DC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5AAB0F4A-E379-18C6-56AF-FEA9B52C0B9C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FE8EB76E-6589-5F50-5C51-4D36D0EF0366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5F0DECAF-C2EC-4320-2918-909116688D05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178AF444-A6FB-E50C-5E09-BBF0CC6E6E07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2BC54BFE-2BC6-8036-C798-8BD5AC1B7203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31B794D3-3F76-F02F-9F58-20F3DFEAA2F6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9A17AA18-FA8D-2064-F48B-F5BE92E43F74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1586B1FC-A013-9E1B-6AD5-80C485FF3637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784588A3-1E02-5DC4-EB5C-1A3E885BA00D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8427D02C-5E79-D05A-CE8D-E26BFD0ADE22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582F65B1-4CC9-CA37-DDB9-7EC386F6CC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77DEB8A3-B9F9-2979-7ABA-0C9914FC48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54960A05-D190-05EF-08F9-D6F99C40AA31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A88D7AE3-9BFD-315C-D103-0F638479222F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39C6C021-1959-AC11-DEC7-E6D9323766E9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5C46153A-2162-C84D-A880-5718CEBE97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1122856D-71BA-00CC-FAB2-4B7848A684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DC34FC68-FB20-8E6B-4EEA-E791986D72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446C1351-3B37-EEFA-2E97-949C7961A5CE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48F6C5C6-80D8-B884-0BF3-95885640F042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9C0A23E3-82F3-1051-62E3-1A86FD947ED4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24F72D0D-0BB9-70EB-8A4C-0AAD8C2D90A5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93B543B6-63DB-10FF-07E3-CA9FE1276603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13D2937C-A3A2-8649-0653-A46BFF12BB1B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9411FBCF-80DD-4763-904B-97CF61009973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339987BB-9CF8-9D99-9B18-735555926E1D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9BB828FD-F1A3-197D-48BC-0C5AD84CAFBA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5CA004CB-205E-6ACB-A262-ED64BEAECC24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8C665849-E913-AE6B-037E-828951ECFF19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0735BC97-4377-3FEE-D2A7-7EF4FBD90546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F0EAE2C1-30DC-04ED-DD20-011F4FDF7D56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DD7779B4-DFB2-E555-DDDD-6D10EDF09E07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DD0B4215-CD77-044F-20B0-0AED44A71BD8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1030F54F-7666-DF94-38B8-67A0A10AC6D4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51DAD98E-ABC4-E162-EDFA-775943A4FE5D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C50068EB-2DB7-9C47-3633-4AE6AD750CFE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6849514C-4307-EE01-3D21-5E7830E8351D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8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00A0DAA9-8311-C058-C4BD-948DAEAFCB6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F8A57CD-BD87-EA29-126B-89F38A3536B7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99CC566B-FB83-6EAD-7112-ED812927D313}"/>
              </a:ext>
            </a:extLst>
          </p:cNvPr>
          <p:cNvSpPr txBox="1">
            <a:spLocks/>
          </p:cNvSpPr>
          <p:nvPr/>
        </p:nvSpPr>
        <p:spPr>
          <a:xfrm>
            <a:off x="5001590" y="3347045"/>
            <a:ext cx="1320752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23 a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44DBF2E-B53D-A1C2-E5D4-985CFAE79513}"/>
              </a:ext>
            </a:extLst>
          </p:cNvPr>
          <p:cNvSpPr txBox="1">
            <a:spLocks/>
          </p:cNvSpPr>
          <p:nvPr/>
        </p:nvSpPr>
        <p:spPr>
          <a:xfrm>
            <a:off x="5088806" y="3047205"/>
            <a:ext cx="1146320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Contrat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’apprentissag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1B83522-A60D-2B57-6823-B350586651CB}"/>
              </a:ext>
            </a:extLst>
          </p:cNvPr>
          <p:cNvSpPr txBox="1">
            <a:spLocks/>
          </p:cNvSpPr>
          <p:nvPr/>
        </p:nvSpPr>
        <p:spPr>
          <a:xfrm>
            <a:off x="6748204" y="3347045"/>
            <a:ext cx="1320752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31 an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8B20477-F075-FABD-9F0C-DBAF71A3CD9F}"/>
              </a:ext>
            </a:extLst>
          </p:cNvPr>
          <p:cNvSpPr txBox="1">
            <a:spLocks/>
          </p:cNvSpPr>
          <p:nvPr/>
        </p:nvSpPr>
        <p:spPr>
          <a:xfrm>
            <a:off x="6835420" y="3047205"/>
            <a:ext cx="1146320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Contrat de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professionnalisation</a:t>
            </a:r>
          </a:p>
        </p:txBody>
      </p:sp>
      <p:sp>
        <p:nvSpPr>
          <p:cNvPr id="178" name="Freeform: Shape 177">
            <a:extLst>
              <a:ext uri="{FF2B5EF4-FFF2-40B4-BE49-F238E27FC236}">
                <a16:creationId xmlns:a16="http://schemas.microsoft.com/office/drawing/2014/main" id="{7AAC8273-90CD-48C9-ADA6-5F798EF2D45A}"/>
              </a:ext>
            </a:extLst>
          </p:cNvPr>
          <p:cNvSpPr>
            <a:spLocks/>
          </p:cNvSpPr>
          <p:nvPr/>
        </p:nvSpPr>
        <p:spPr>
          <a:xfrm>
            <a:off x="5374571" y="2303761"/>
            <a:ext cx="457612" cy="617773"/>
          </a:xfrm>
          <a:custGeom>
            <a:avLst/>
            <a:gdLst>
              <a:gd name="csX0" fmla="*/ 189987 w 676111"/>
              <a:gd name="csY0" fmla="*/ 0 h 912748"/>
              <a:gd name="csX1" fmla="*/ 213969 w 676111"/>
              <a:gd name="csY1" fmla="*/ 0 h 912748"/>
              <a:gd name="csX2" fmla="*/ 640442 w 676111"/>
              <a:gd name="csY2" fmla="*/ 0 h 912748"/>
              <a:gd name="csX3" fmla="*/ 642305 w 676111"/>
              <a:gd name="csY3" fmla="*/ 0 h 912748"/>
              <a:gd name="csX4" fmla="*/ 676111 w 676111"/>
              <a:gd name="csY4" fmla="*/ 33805 h 912748"/>
              <a:gd name="csX5" fmla="*/ 676111 w 676111"/>
              <a:gd name="csY5" fmla="*/ 422569 h 912748"/>
              <a:gd name="csX6" fmla="*/ 676110 w 676111"/>
              <a:gd name="csY6" fmla="*/ 422571 h 912748"/>
              <a:gd name="csX7" fmla="*/ 676110 w 676111"/>
              <a:gd name="csY7" fmla="*/ 877080 h 912748"/>
              <a:gd name="csX8" fmla="*/ 640442 w 676111"/>
              <a:gd name="csY8" fmla="*/ 912748 h 912748"/>
              <a:gd name="csX9" fmla="*/ 523986 w 676111"/>
              <a:gd name="csY9" fmla="*/ 912748 h 912748"/>
              <a:gd name="csX10" fmla="*/ 213969 w 676111"/>
              <a:gd name="csY10" fmla="*/ 912748 h 912748"/>
              <a:gd name="csX11" fmla="*/ 33805 w 676111"/>
              <a:gd name="csY11" fmla="*/ 912748 h 912748"/>
              <a:gd name="csX12" fmla="*/ 0 w 676111"/>
              <a:gd name="csY12" fmla="*/ 878943 h 912748"/>
              <a:gd name="csX13" fmla="*/ 0 w 676111"/>
              <a:gd name="csY13" fmla="*/ 189987 h 912748"/>
              <a:gd name="csX14" fmla="*/ 14874 w 676111"/>
              <a:gd name="csY14" fmla="*/ 154153 h 912748"/>
              <a:gd name="csX15" fmla="*/ 154153 w 676111"/>
              <a:gd name="csY15" fmla="*/ 14874 h 912748"/>
              <a:gd name="csX16" fmla="*/ 189987 w 676111"/>
              <a:gd name="csY16" fmla="*/ 0 h 9127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676111" h="912748">
                <a:moveTo>
                  <a:pt x="189987" y="0"/>
                </a:moveTo>
                <a:lnTo>
                  <a:pt x="213969" y="0"/>
                </a:lnTo>
                <a:lnTo>
                  <a:pt x="640442" y="0"/>
                </a:lnTo>
                <a:lnTo>
                  <a:pt x="642305" y="0"/>
                </a:lnTo>
                <a:cubicBezTo>
                  <a:pt x="660952" y="56"/>
                  <a:pt x="676055" y="15159"/>
                  <a:pt x="676111" y="33805"/>
                </a:cubicBezTo>
                <a:lnTo>
                  <a:pt x="676111" y="422569"/>
                </a:lnTo>
                <a:lnTo>
                  <a:pt x="676110" y="422571"/>
                </a:lnTo>
                <a:lnTo>
                  <a:pt x="676110" y="877080"/>
                </a:lnTo>
                <a:cubicBezTo>
                  <a:pt x="676110" y="896779"/>
                  <a:pt x="660141" y="912748"/>
                  <a:pt x="640442" y="912748"/>
                </a:cubicBezTo>
                <a:lnTo>
                  <a:pt x="523986" y="912748"/>
                </a:lnTo>
                <a:lnTo>
                  <a:pt x="213969" y="912748"/>
                </a:lnTo>
                <a:lnTo>
                  <a:pt x="33805" y="912748"/>
                </a:lnTo>
                <a:cubicBezTo>
                  <a:pt x="15159" y="912692"/>
                  <a:pt x="56" y="897590"/>
                  <a:pt x="0" y="878943"/>
                </a:cubicBezTo>
                <a:lnTo>
                  <a:pt x="0" y="189987"/>
                </a:lnTo>
                <a:cubicBezTo>
                  <a:pt x="40" y="176548"/>
                  <a:pt x="5386" y="163669"/>
                  <a:pt x="14874" y="154153"/>
                </a:cubicBezTo>
                <a:lnTo>
                  <a:pt x="154153" y="14874"/>
                </a:lnTo>
                <a:cubicBezTo>
                  <a:pt x="163669" y="5386"/>
                  <a:pt x="176548" y="40"/>
                  <a:pt x="189987" y="0"/>
                </a:cubicBezTo>
                <a:close/>
              </a:path>
            </a:pathLst>
          </a:cu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18900000" scaled="1"/>
          </a:gradFill>
          <a:ln w="1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dirty="0"/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F89260BA-0348-FF57-EA53-0D08CF9343F4}"/>
              </a:ext>
            </a:extLst>
          </p:cNvPr>
          <p:cNvSpPr/>
          <p:nvPr/>
        </p:nvSpPr>
        <p:spPr>
          <a:xfrm>
            <a:off x="5374571" y="2303761"/>
            <a:ext cx="111199" cy="111199"/>
          </a:xfrm>
          <a:custGeom>
            <a:avLst/>
            <a:gdLst>
              <a:gd name="csX0" fmla="*/ 224344 w 224344"/>
              <a:gd name="csY0" fmla="*/ 0 h 224344"/>
              <a:gd name="csX1" fmla="*/ 224344 w 224344"/>
              <a:gd name="csY1" fmla="*/ 178183 h 224344"/>
              <a:gd name="csX2" fmla="*/ 178183 w 224344"/>
              <a:gd name="csY2" fmla="*/ 224344 h 224344"/>
              <a:gd name="csX3" fmla="*/ 0 w 224344"/>
              <a:gd name="csY3" fmla="*/ 224344 h 224344"/>
              <a:gd name="csX4" fmla="*/ 13848 w 224344"/>
              <a:gd name="csY4" fmla="*/ 204033 h 224344"/>
              <a:gd name="csX5" fmla="*/ 204033 w 224344"/>
              <a:gd name="csY5" fmla="*/ 13848 h 224344"/>
              <a:gd name="csX6" fmla="*/ 224344 w 224344"/>
              <a:gd name="csY6" fmla="*/ 0 h 2243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24344" h="224344">
                <a:moveTo>
                  <a:pt x="224344" y="0"/>
                </a:moveTo>
                <a:lnTo>
                  <a:pt x="224344" y="178183"/>
                </a:lnTo>
                <a:cubicBezTo>
                  <a:pt x="224268" y="203645"/>
                  <a:pt x="203645" y="224268"/>
                  <a:pt x="178183" y="224344"/>
                </a:cubicBezTo>
                <a:lnTo>
                  <a:pt x="0" y="224344"/>
                </a:lnTo>
                <a:cubicBezTo>
                  <a:pt x="3308" y="216769"/>
                  <a:pt x="8005" y="209880"/>
                  <a:pt x="13848" y="204033"/>
                </a:cubicBezTo>
                <a:lnTo>
                  <a:pt x="204033" y="13848"/>
                </a:lnTo>
                <a:cubicBezTo>
                  <a:pt x="209880" y="8005"/>
                  <a:pt x="216769" y="3308"/>
                  <a:pt x="224344" y="0"/>
                </a:cubicBezTo>
                <a:close/>
              </a:path>
            </a:pathLst>
          </a:custGeo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80" name="Freeform: Shape 179">
            <a:extLst>
              <a:ext uri="{FF2B5EF4-FFF2-40B4-BE49-F238E27FC236}">
                <a16:creationId xmlns:a16="http://schemas.microsoft.com/office/drawing/2014/main" id="{ECBD5523-EFCC-40F9-126D-502EAEF7DFB4}"/>
              </a:ext>
            </a:extLst>
          </p:cNvPr>
          <p:cNvSpPr/>
          <p:nvPr/>
        </p:nvSpPr>
        <p:spPr>
          <a:xfrm>
            <a:off x="5705390" y="2667262"/>
            <a:ext cx="276461" cy="276460"/>
          </a:xfrm>
          <a:custGeom>
            <a:avLst/>
            <a:gdLst>
              <a:gd name="csX0" fmla="*/ 784743 w 784742"/>
              <a:gd name="csY0" fmla="*/ 392371 h 784742"/>
              <a:gd name="csX1" fmla="*/ 392371 w 784742"/>
              <a:gd name="csY1" fmla="*/ 784743 h 784742"/>
              <a:gd name="csX2" fmla="*/ 0 w 784742"/>
              <a:gd name="csY2" fmla="*/ 392371 h 784742"/>
              <a:gd name="csX3" fmla="*/ 392371 w 784742"/>
              <a:gd name="csY3" fmla="*/ 0 h 784742"/>
              <a:gd name="csX4" fmla="*/ 784743 w 784742"/>
              <a:gd name="csY4" fmla="*/ 392371 h 7847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784742" h="784742">
                <a:moveTo>
                  <a:pt x="784743" y="392371"/>
                </a:moveTo>
                <a:cubicBezTo>
                  <a:pt x="784743" y="609072"/>
                  <a:pt x="609072" y="784743"/>
                  <a:pt x="392371" y="784743"/>
                </a:cubicBezTo>
                <a:cubicBezTo>
                  <a:pt x="175671" y="784743"/>
                  <a:pt x="0" y="609072"/>
                  <a:pt x="0" y="392371"/>
                </a:cubicBezTo>
                <a:cubicBezTo>
                  <a:pt x="0" y="175671"/>
                  <a:pt x="175671" y="0"/>
                  <a:pt x="392371" y="0"/>
                </a:cubicBezTo>
                <a:cubicBezTo>
                  <a:pt x="609072" y="0"/>
                  <a:pt x="784743" y="175671"/>
                  <a:pt x="784743" y="392371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83" name="Freeform: Shape 182">
            <a:extLst>
              <a:ext uri="{FF2B5EF4-FFF2-40B4-BE49-F238E27FC236}">
                <a16:creationId xmlns:a16="http://schemas.microsoft.com/office/drawing/2014/main" id="{01DDD1FA-A3BD-853D-B89E-52A713987201}"/>
              </a:ext>
            </a:extLst>
          </p:cNvPr>
          <p:cNvSpPr/>
          <p:nvPr/>
        </p:nvSpPr>
        <p:spPr>
          <a:xfrm>
            <a:off x="5431911" y="2795691"/>
            <a:ext cx="194344" cy="80172"/>
          </a:xfrm>
          <a:custGeom>
            <a:avLst/>
            <a:gdLst>
              <a:gd name="csX0" fmla="*/ 369007 w 392087"/>
              <a:gd name="csY0" fmla="*/ 161565 h 161746"/>
              <a:gd name="csX1" fmla="*/ 253604 w 392087"/>
              <a:gd name="csY1" fmla="*/ 113095 h 161746"/>
              <a:gd name="csX2" fmla="*/ 138200 w 392087"/>
              <a:gd name="csY2" fmla="*/ 161565 h 161746"/>
              <a:gd name="csX3" fmla="*/ 115120 w 392087"/>
              <a:gd name="csY3" fmla="*/ 157987 h 161746"/>
              <a:gd name="csX4" fmla="*/ 92039 w 392087"/>
              <a:gd name="csY4" fmla="*/ 161565 h 161746"/>
              <a:gd name="csX5" fmla="*/ 6479 w 392087"/>
              <a:gd name="csY5" fmla="*/ 131721 h 161746"/>
              <a:gd name="csX6" fmla="*/ 7046 w 392087"/>
              <a:gd name="csY6" fmla="*/ 99085 h 161746"/>
              <a:gd name="csX7" fmla="*/ 39115 w 392087"/>
              <a:gd name="csY7" fmla="*/ 99085 h 161746"/>
              <a:gd name="csX8" fmla="*/ 54810 w 392087"/>
              <a:gd name="csY8" fmla="*/ 108318 h 161746"/>
              <a:gd name="csX9" fmla="*/ 45878 w 392087"/>
              <a:gd name="csY9" fmla="*/ 69242 h 161746"/>
              <a:gd name="csX10" fmla="*/ 115120 w 392087"/>
              <a:gd name="csY10" fmla="*/ 0 h 161746"/>
              <a:gd name="csX11" fmla="*/ 184362 w 392087"/>
              <a:gd name="csY11" fmla="*/ 69242 h 161746"/>
              <a:gd name="csX12" fmla="*/ 174275 w 392087"/>
              <a:gd name="csY12" fmla="*/ 110603 h 161746"/>
              <a:gd name="csX13" fmla="*/ 231723 w 392087"/>
              <a:gd name="csY13" fmla="*/ 61948 h 161746"/>
              <a:gd name="csX14" fmla="*/ 260857 w 392087"/>
              <a:gd name="csY14" fmla="*/ 47229 h 161746"/>
              <a:gd name="csX15" fmla="*/ 275577 w 392087"/>
              <a:gd name="csY15" fmla="*/ 61948 h 161746"/>
              <a:gd name="csX16" fmla="*/ 369007 w 392087"/>
              <a:gd name="csY16" fmla="*/ 115403 h 161746"/>
              <a:gd name="csX17" fmla="*/ 392088 w 392087"/>
              <a:gd name="csY17" fmla="*/ 138484 h 161746"/>
              <a:gd name="csX18" fmla="*/ 369007 w 392087"/>
              <a:gd name="csY18" fmla="*/ 161565 h 161746"/>
              <a:gd name="csX19" fmla="*/ 115120 w 392087"/>
              <a:gd name="csY19" fmla="*/ 46161 h 161746"/>
              <a:gd name="csX20" fmla="*/ 92039 w 392087"/>
              <a:gd name="csY20" fmla="*/ 69242 h 161746"/>
              <a:gd name="csX21" fmla="*/ 115120 w 392087"/>
              <a:gd name="csY21" fmla="*/ 107810 h 161746"/>
              <a:gd name="csX22" fmla="*/ 138200 w 392087"/>
              <a:gd name="csY22" fmla="*/ 69242 h 161746"/>
              <a:gd name="csX23" fmla="*/ 115120 w 392087"/>
              <a:gd name="csY23" fmla="*/ 46161 h 1617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392087" h="161746">
                <a:moveTo>
                  <a:pt x="369007" y="161565"/>
                </a:moveTo>
                <a:cubicBezTo>
                  <a:pt x="325176" y="163764"/>
                  <a:pt x="282720" y="145932"/>
                  <a:pt x="253604" y="113095"/>
                </a:cubicBezTo>
                <a:cubicBezTo>
                  <a:pt x="224488" y="145932"/>
                  <a:pt x="182031" y="163764"/>
                  <a:pt x="138200" y="161565"/>
                </a:cubicBezTo>
                <a:cubicBezTo>
                  <a:pt x="130376" y="161471"/>
                  <a:pt x="122605" y="160267"/>
                  <a:pt x="115120" y="157987"/>
                </a:cubicBezTo>
                <a:cubicBezTo>
                  <a:pt x="107634" y="160267"/>
                  <a:pt x="99863" y="161471"/>
                  <a:pt x="92039" y="161565"/>
                </a:cubicBezTo>
                <a:cubicBezTo>
                  <a:pt x="60752" y="162922"/>
                  <a:pt x="30134" y="152243"/>
                  <a:pt x="6479" y="131721"/>
                </a:cubicBezTo>
                <a:cubicBezTo>
                  <a:pt x="-2377" y="122553"/>
                  <a:pt x="-2123" y="107941"/>
                  <a:pt x="7046" y="99085"/>
                </a:cubicBezTo>
                <a:cubicBezTo>
                  <a:pt x="15991" y="90447"/>
                  <a:pt x="30171" y="90447"/>
                  <a:pt x="39115" y="99085"/>
                </a:cubicBezTo>
                <a:cubicBezTo>
                  <a:pt x="43822" y="102978"/>
                  <a:pt x="49120" y="106095"/>
                  <a:pt x="54810" y="108318"/>
                </a:cubicBezTo>
                <a:cubicBezTo>
                  <a:pt x="48856" y="96157"/>
                  <a:pt x="45799" y="82782"/>
                  <a:pt x="45878" y="69242"/>
                </a:cubicBezTo>
                <a:cubicBezTo>
                  <a:pt x="45878" y="31001"/>
                  <a:pt x="76878" y="0"/>
                  <a:pt x="115120" y="0"/>
                </a:cubicBezTo>
                <a:cubicBezTo>
                  <a:pt x="153361" y="0"/>
                  <a:pt x="184362" y="31001"/>
                  <a:pt x="184362" y="69242"/>
                </a:cubicBezTo>
                <a:cubicBezTo>
                  <a:pt x="184469" y="83650"/>
                  <a:pt x="181003" y="97861"/>
                  <a:pt x="174275" y="110603"/>
                </a:cubicBezTo>
                <a:cubicBezTo>
                  <a:pt x="199926" y="104155"/>
                  <a:pt x="221141" y="86187"/>
                  <a:pt x="231723" y="61948"/>
                </a:cubicBezTo>
                <a:cubicBezTo>
                  <a:pt x="235704" y="49839"/>
                  <a:pt x="248747" y="43249"/>
                  <a:pt x="260857" y="47229"/>
                </a:cubicBezTo>
                <a:cubicBezTo>
                  <a:pt x="267823" y="49519"/>
                  <a:pt x="273287" y="54982"/>
                  <a:pt x="275577" y="61948"/>
                </a:cubicBezTo>
                <a:cubicBezTo>
                  <a:pt x="276200" y="63933"/>
                  <a:pt x="295426" y="115403"/>
                  <a:pt x="369007" y="115403"/>
                </a:cubicBezTo>
                <a:cubicBezTo>
                  <a:pt x="381754" y="115403"/>
                  <a:pt x="392088" y="125737"/>
                  <a:pt x="392088" y="138484"/>
                </a:cubicBezTo>
                <a:cubicBezTo>
                  <a:pt x="392088" y="151231"/>
                  <a:pt x="381754" y="161565"/>
                  <a:pt x="369007" y="161565"/>
                </a:cubicBezTo>
                <a:close/>
                <a:moveTo>
                  <a:pt x="115120" y="46161"/>
                </a:moveTo>
                <a:cubicBezTo>
                  <a:pt x="102373" y="46161"/>
                  <a:pt x="92039" y="56495"/>
                  <a:pt x="92039" y="69242"/>
                </a:cubicBezTo>
                <a:cubicBezTo>
                  <a:pt x="92183" y="85328"/>
                  <a:pt x="101011" y="100080"/>
                  <a:pt x="115120" y="107810"/>
                </a:cubicBezTo>
                <a:cubicBezTo>
                  <a:pt x="129228" y="100080"/>
                  <a:pt x="138056" y="85328"/>
                  <a:pt x="138200" y="69242"/>
                </a:cubicBezTo>
                <a:cubicBezTo>
                  <a:pt x="138200" y="56495"/>
                  <a:pt x="127867" y="46161"/>
                  <a:pt x="115120" y="46161"/>
                </a:cubicBezTo>
                <a:close/>
              </a:path>
            </a:pathLst>
          </a:custGeo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grpSp>
        <p:nvGrpSpPr>
          <p:cNvPr id="184" name="Graphic 64">
            <a:extLst>
              <a:ext uri="{FF2B5EF4-FFF2-40B4-BE49-F238E27FC236}">
                <a16:creationId xmlns:a16="http://schemas.microsoft.com/office/drawing/2014/main" id="{4891A965-4CD3-9E83-CAFD-E482149297E0}"/>
              </a:ext>
            </a:extLst>
          </p:cNvPr>
          <p:cNvGrpSpPr/>
          <p:nvPr/>
        </p:nvGrpSpPr>
        <p:grpSpPr>
          <a:xfrm>
            <a:off x="5420331" y="2463924"/>
            <a:ext cx="366089" cy="297446"/>
            <a:chOff x="2061661" y="-115204"/>
            <a:chExt cx="738581" cy="600097"/>
          </a:xfr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</p:grpSpPr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B04F45C0-E982-FDEA-3AE2-08BDE7478B77}"/>
                </a:ext>
              </a:extLst>
            </p:cNvPr>
            <p:cNvSpPr/>
            <p:nvPr/>
          </p:nvSpPr>
          <p:spPr>
            <a:xfrm>
              <a:off x="2061661" y="438732"/>
              <a:ext cx="392371" cy="46161"/>
            </a:xfrm>
            <a:custGeom>
              <a:avLst/>
              <a:gdLst>
                <a:gd name="csX0" fmla="*/ 369291 w 392371"/>
                <a:gd name="csY0" fmla="*/ 46161 h 46161"/>
                <a:gd name="csX1" fmla="*/ 23081 w 392371"/>
                <a:gd name="csY1" fmla="*/ 46161 h 46161"/>
                <a:gd name="csX2" fmla="*/ 0 w 392371"/>
                <a:gd name="csY2" fmla="*/ 23081 h 46161"/>
                <a:gd name="csX3" fmla="*/ 23081 w 392371"/>
                <a:gd name="csY3" fmla="*/ 0 h 46161"/>
                <a:gd name="csX4" fmla="*/ 369291 w 392371"/>
                <a:gd name="csY4" fmla="*/ 0 h 46161"/>
                <a:gd name="csX5" fmla="*/ 392371 w 392371"/>
                <a:gd name="csY5" fmla="*/ 23081 h 46161"/>
                <a:gd name="csX6" fmla="*/ 369291 w 39237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92371" h="46161">
                  <a:moveTo>
                    <a:pt x="36929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69291" y="0"/>
                  </a:lnTo>
                  <a:cubicBezTo>
                    <a:pt x="382038" y="0"/>
                    <a:pt x="392371" y="10334"/>
                    <a:pt x="392371" y="23081"/>
                  </a:cubicBezTo>
                  <a:cubicBezTo>
                    <a:pt x="392371" y="35828"/>
                    <a:pt x="382038" y="46161"/>
                    <a:pt x="36929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D8805D9-33FE-22CA-59EA-89E773C08798}"/>
                </a:ext>
              </a:extLst>
            </p:cNvPr>
            <p:cNvSpPr/>
            <p:nvPr/>
          </p:nvSpPr>
          <p:spPr>
            <a:xfrm>
              <a:off x="2061661" y="300248"/>
              <a:ext cx="415452" cy="46161"/>
            </a:xfrm>
            <a:custGeom>
              <a:avLst/>
              <a:gdLst>
                <a:gd name="csX0" fmla="*/ 392371 w 415452"/>
                <a:gd name="csY0" fmla="*/ 46161 h 46161"/>
                <a:gd name="csX1" fmla="*/ 23081 w 415452"/>
                <a:gd name="csY1" fmla="*/ 46161 h 46161"/>
                <a:gd name="csX2" fmla="*/ 0 w 415452"/>
                <a:gd name="csY2" fmla="*/ 23081 h 46161"/>
                <a:gd name="csX3" fmla="*/ 23081 w 415452"/>
                <a:gd name="csY3" fmla="*/ 0 h 46161"/>
                <a:gd name="csX4" fmla="*/ 392371 w 415452"/>
                <a:gd name="csY4" fmla="*/ 0 h 46161"/>
                <a:gd name="csX5" fmla="*/ 415452 w 415452"/>
                <a:gd name="csY5" fmla="*/ 23081 h 46161"/>
                <a:gd name="csX6" fmla="*/ 392371 w 415452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15452" h="46161">
                  <a:moveTo>
                    <a:pt x="39237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92371" y="0"/>
                  </a:lnTo>
                  <a:cubicBezTo>
                    <a:pt x="405118" y="0"/>
                    <a:pt x="415452" y="10334"/>
                    <a:pt x="415452" y="23081"/>
                  </a:cubicBezTo>
                  <a:cubicBezTo>
                    <a:pt x="415452" y="35828"/>
                    <a:pt x="405118" y="46161"/>
                    <a:pt x="39237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0605421D-DCFF-94A5-E73A-0320FD27DEEE}"/>
                </a:ext>
              </a:extLst>
            </p:cNvPr>
            <p:cNvSpPr/>
            <p:nvPr/>
          </p:nvSpPr>
          <p:spPr>
            <a:xfrm>
              <a:off x="2061661" y="161764"/>
              <a:ext cx="507774" cy="46161"/>
            </a:xfrm>
            <a:custGeom>
              <a:avLst/>
              <a:gdLst>
                <a:gd name="csX0" fmla="*/ 484694 w 507774"/>
                <a:gd name="csY0" fmla="*/ 46161 h 46161"/>
                <a:gd name="csX1" fmla="*/ 23081 w 507774"/>
                <a:gd name="csY1" fmla="*/ 46161 h 46161"/>
                <a:gd name="csX2" fmla="*/ 0 w 507774"/>
                <a:gd name="csY2" fmla="*/ 23081 h 46161"/>
                <a:gd name="csX3" fmla="*/ 23081 w 507774"/>
                <a:gd name="csY3" fmla="*/ 0 h 46161"/>
                <a:gd name="csX4" fmla="*/ 484694 w 507774"/>
                <a:gd name="csY4" fmla="*/ 0 h 46161"/>
                <a:gd name="csX5" fmla="*/ 507775 w 507774"/>
                <a:gd name="csY5" fmla="*/ 23081 h 46161"/>
                <a:gd name="csX6" fmla="*/ 484694 w 507774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07774" h="46161">
                  <a:moveTo>
                    <a:pt x="484694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484694" y="0"/>
                  </a:lnTo>
                  <a:cubicBezTo>
                    <a:pt x="497441" y="0"/>
                    <a:pt x="507775" y="10334"/>
                    <a:pt x="507775" y="23081"/>
                  </a:cubicBezTo>
                  <a:cubicBezTo>
                    <a:pt x="507775" y="35828"/>
                    <a:pt x="497441" y="46161"/>
                    <a:pt x="484694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7E55B3EE-B129-2912-6D19-B18919A5BE27}"/>
                </a:ext>
              </a:extLst>
            </p:cNvPr>
            <p:cNvSpPr/>
            <p:nvPr/>
          </p:nvSpPr>
          <p:spPr>
            <a:xfrm>
              <a:off x="2061661" y="23280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AAEB1074-2AD6-A771-697C-89C1E4D14972}"/>
                </a:ext>
              </a:extLst>
            </p:cNvPr>
            <p:cNvSpPr/>
            <p:nvPr/>
          </p:nvSpPr>
          <p:spPr>
            <a:xfrm>
              <a:off x="2061661" y="-115204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D97FD5E0-BD16-279E-30EB-ECD550DF151F}"/>
              </a:ext>
            </a:extLst>
          </p:cNvPr>
          <p:cNvSpPr/>
          <p:nvPr/>
        </p:nvSpPr>
        <p:spPr>
          <a:xfrm rot="20145245" flipH="1">
            <a:off x="6002142" y="2916766"/>
            <a:ext cx="903" cy="657"/>
          </a:xfrm>
          <a:custGeom>
            <a:avLst/>
            <a:gdLst>
              <a:gd name="csX0" fmla="*/ 12458 w 13527"/>
              <a:gd name="csY0" fmla="*/ 9832 h 9832"/>
              <a:gd name="csX1" fmla="*/ 0 w 13527"/>
              <a:gd name="csY1" fmla="*/ 0 h 9832"/>
              <a:gd name="csX2" fmla="*/ 12458 w 13527"/>
              <a:gd name="csY2" fmla="*/ 9832 h 98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7" h="9832">
                <a:moveTo>
                  <a:pt x="12458" y="9832"/>
                </a:moveTo>
                <a:cubicBezTo>
                  <a:pt x="7389" y="7634"/>
                  <a:pt x="2382" y="5313"/>
                  <a:pt x="0" y="0"/>
                </a:cubicBezTo>
                <a:cubicBezTo>
                  <a:pt x="5130" y="1221"/>
                  <a:pt x="17161" y="2138"/>
                  <a:pt x="12458" y="9832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4" name="Freeform: Shape 193">
            <a:extLst>
              <a:ext uri="{FF2B5EF4-FFF2-40B4-BE49-F238E27FC236}">
                <a16:creationId xmlns:a16="http://schemas.microsoft.com/office/drawing/2014/main" id="{78567A4F-076F-01DD-A0EA-7300111A23B4}"/>
              </a:ext>
            </a:extLst>
          </p:cNvPr>
          <p:cNvSpPr/>
          <p:nvPr/>
        </p:nvSpPr>
        <p:spPr>
          <a:xfrm rot="20145245" flipH="1">
            <a:off x="5932799" y="2799620"/>
            <a:ext cx="112946" cy="139232"/>
          </a:xfrm>
          <a:custGeom>
            <a:avLst/>
            <a:gdLst>
              <a:gd name="csX0" fmla="*/ 1691555 w 1691554"/>
              <a:gd name="csY0" fmla="*/ 70263 h 2085222"/>
              <a:gd name="csX1" fmla="*/ 1676715 w 1691554"/>
              <a:gd name="csY1" fmla="*/ 89317 h 2085222"/>
              <a:gd name="csX2" fmla="*/ 1676410 w 1691554"/>
              <a:gd name="csY2" fmla="*/ 2019265 h 2085222"/>
              <a:gd name="csX3" fmla="*/ 1596346 w 1691554"/>
              <a:gd name="csY3" fmla="*/ 2081679 h 2085222"/>
              <a:gd name="csX4" fmla="*/ 992360 w 1691554"/>
              <a:gd name="csY4" fmla="*/ 1820786 h 2085222"/>
              <a:gd name="csX5" fmla="*/ 963779 w 1691554"/>
              <a:gd name="csY5" fmla="*/ 1782922 h 2085222"/>
              <a:gd name="csX6" fmla="*/ 951320 w 1691554"/>
              <a:gd name="csY6" fmla="*/ 1773090 h 2085222"/>
              <a:gd name="csX7" fmla="*/ 938618 w 1691554"/>
              <a:gd name="csY7" fmla="*/ 1772662 h 2085222"/>
              <a:gd name="csX8" fmla="*/ 895319 w 1691554"/>
              <a:gd name="csY8" fmla="*/ 1782373 h 2085222"/>
              <a:gd name="csX9" fmla="*/ 60059 w 1691554"/>
              <a:gd name="csY9" fmla="*/ 1935720 h 2085222"/>
              <a:gd name="csX10" fmla="*/ 44608 w 1691554"/>
              <a:gd name="csY10" fmla="*/ 1944515 h 2085222"/>
              <a:gd name="csX11" fmla="*/ 27 w 1691554"/>
              <a:gd name="csY11" fmla="*/ 1877948 h 2085222"/>
              <a:gd name="csX12" fmla="*/ 1606117 w 1691554"/>
              <a:gd name="csY12" fmla="*/ 1010 h 2085222"/>
              <a:gd name="csX13" fmla="*/ 1691555 w 1691554"/>
              <a:gd name="csY13" fmla="*/ 70325 h 20852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691554" h="2085222">
                <a:moveTo>
                  <a:pt x="1691555" y="70263"/>
                </a:moveTo>
                <a:lnTo>
                  <a:pt x="1676715" y="89317"/>
                </a:lnTo>
                <a:lnTo>
                  <a:pt x="1676410" y="2019265"/>
                </a:lnTo>
                <a:cubicBezTo>
                  <a:pt x="1665966" y="2074106"/>
                  <a:pt x="1659615" y="2094076"/>
                  <a:pt x="1596346" y="2081679"/>
                </a:cubicBezTo>
                <a:lnTo>
                  <a:pt x="992360" y="1820786"/>
                </a:lnTo>
                <a:cubicBezTo>
                  <a:pt x="975138" y="1810893"/>
                  <a:pt x="965611" y="1798251"/>
                  <a:pt x="963779" y="1782922"/>
                </a:cubicBezTo>
                <a:lnTo>
                  <a:pt x="951320" y="1773090"/>
                </a:lnTo>
                <a:cubicBezTo>
                  <a:pt x="946923" y="1779197"/>
                  <a:pt x="942709" y="1779075"/>
                  <a:pt x="938618" y="1772662"/>
                </a:cubicBezTo>
                <a:cubicBezTo>
                  <a:pt x="927625" y="1782922"/>
                  <a:pt x="913151" y="1786159"/>
                  <a:pt x="895319" y="1782373"/>
                </a:cubicBezTo>
                <a:lnTo>
                  <a:pt x="60059" y="1935720"/>
                </a:lnTo>
                <a:cubicBezTo>
                  <a:pt x="66288" y="1921125"/>
                  <a:pt x="61158" y="1924056"/>
                  <a:pt x="44608" y="1944515"/>
                </a:cubicBezTo>
                <a:cubicBezTo>
                  <a:pt x="32211" y="1922835"/>
                  <a:pt x="-1073" y="1914468"/>
                  <a:pt x="27" y="1877948"/>
                </a:cubicBezTo>
                <a:lnTo>
                  <a:pt x="1606117" y="1010"/>
                </a:lnTo>
                <a:cubicBezTo>
                  <a:pt x="1656989" y="-7296"/>
                  <a:pt x="1674577" y="37408"/>
                  <a:pt x="1691555" y="70325"/>
                </a:cubicBezTo>
                <a:close/>
              </a:path>
            </a:pathLst>
          </a:custGeom>
          <a:solidFill>
            <a:schemeClr val="accent3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2CC0B51F-8EDB-A9DC-F0E3-0FAE87642032}"/>
              </a:ext>
            </a:extLst>
          </p:cNvPr>
          <p:cNvSpPr/>
          <p:nvPr/>
        </p:nvSpPr>
        <p:spPr>
          <a:xfrm rot="20145245" flipH="1">
            <a:off x="5924985" y="2816993"/>
            <a:ext cx="66951" cy="160694"/>
          </a:xfrm>
          <a:custGeom>
            <a:avLst/>
            <a:gdLst>
              <a:gd name="csX0" fmla="*/ 753539 w 1002707"/>
              <a:gd name="csY0" fmla="*/ 36703 h 2406639"/>
              <a:gd name="csX1" fmla="*/ 999164 w 1002707"/>
              <a:gd name="csY1" fmla="*/ 364713 h 2406639"/>
              <a:gd name="csX2" fmla="*/ 1002034 w 1002707"/>
              <a:gd name="csY2" fmla="*/ 2402205 h 2406639"/>
              <a:gd name="csX3" fmla="*/ 869023 w 1002707"/>
              <a:gd name="csY3" fmla="*/ 2372403 h 2406639"/>
              <a:gd name="csX4" fmla="*/ 515486 w 1002707"/>
              <a:gd name="csY4" fmla="*/ 2222536 h 2406639"/>
              <a:gd name="csX5" fmla="*/ 281892 w 1002707"/>
              <a:gd name="csY5" fmla="*/ 2116273 h 2406639"/>
              <a:gd name="csX6" fmla="*/ 241158 w 1002707"/>
              <a:gd name="csY6" fmla="*/ 2105647 h 2406639"/>
              <a:gd name="csX7" fmla="*/ 785 w 1002707"/>
              <a:gd name="csY7" fmla="*/ 1769271 h 2406639"/>
              <a:gd name="csX8" fmla="*/ 785 w 1002707"/>
              <a:gd name="csY8" fmla="*/ 1739163 h 2406639"/>
              <a:gd name="csX9" fmla="*/ 13487 w 1002707"/>
              <a:gd name="csY9" fmla="*/ 1739591 h 2406639"/>
              <a:gd name="csX10" fmla="*/ 25946 w 1002707"/>
              <a:gd name="csY10" fmla="*/ 1749423 h 2406639"/>
              <a:gd name="csX11" fmla="*/ 670361 w 1002707"/>
              <a:gd name="csY11" fmla="*/ 2027843 h 2406639"/>
              <a:gd name="csX12" fmla="*/ 703461 w 1002707"/>
              <a:gd name="csY12" fmla="*/ 2023996 h 2406639"/>
              <a:gd name="csX13" fmla="*/ 715064 w 1002707"/>
              <a:gd name="csY13" fmla="*/ 1993888 h 2406639"/>
              <a:gd name="csX14" fmla="*/ 715370 w 1002707"/>
              <a:gd name="csY14" fmla="*/ 0 h 2406639"/>
              <a:gd name="csX15" fmla="*/ 753600 w 1002707"/>
              <a:gd name="csY15" fmla="*/ 36764 h 2406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002707" h="2406639">
                <a:moveTo>
                  <a:pt x="753539" y="36703"/>
                </a:moveTo>
                <a:cubicBezTo>
                  <a:pt x="768623" y="38841"/>
                  <a:pt x="990370" y="331063"/>
                  <a:pt x="999164" y="364713"/>
                </a:cubicBezTo>
                <a:cubicBezTo>
                  <a:pt x="1002584" y="1044182"/>
                  <a:pt x="1003500" y="1723346"/>
                  <a:pt x="1002034" y="2402205"/>
                </a:cubicBezTo>
                <a:cubicBezTo>
                  <a:pt x="962094" y="2413381"/>
                  <a:pt x="917757" y="2403426"/>
                  <a:pt x="869023" y="2372403"/>
                </a:cubicBezTo>
                <a:cubicBezTo>
                  <a:pt x="748592" y="2336676"/>
                  <a:pt x="636222" y="2274995"/>
                  <a:pt x="515486" y="2222536"/>
                </a:cubicBezTo>
                <a:cubicBezTo>
                  <a:pt x="434446" y="2187359"/>
                  <a:pt x="355359" y="2158168"/>
                  <a:pt x="281892" y="2116273"/>
                </a:cubicBezTo>
                <a:lnTo>
                  <a:pt x="241158" y="2105647"/>
                </a:lnTo>
                <a:cubicBezTo>
                  <a:pt x="185950" y="2054226"/>
                  <a:pt x="8296" y="1829609"/>
                  <a:pt x="785" y="1769271"/>
                </a:cubicBezTo>
                <a:cubicBezTo>
                  <a:pt x="-437" y="1759378"/>
                  <a:pt x="-70" y="1749301"/>
                  <a:pt x="785" y="1739163"/>
                </a:cubicBezTo>
                <a:cubicBezTo>
                  <a:pt x="4937" y="1739713"/>
                  <a:pt x="9396" y="1738553"/>
                  <a:pt x="13487" y="1739591"/>
                </a:cubicBezTo>
                <a:lnTo>
                  <a:pt x="25946" y="1749423"/>
                </a:lnTo>
                <a:lnTo>
                  <a:pt x="670361" y="2027843"/>
                </a:lnTo>
                <a:cubicBezTo>
                  <a:pt x="682453" y="2033095"/>
                  <a:pt x="697781" y="2028943"/>
                  <a:pt x="703461" y="2023996"/>
                </a:cubicBezTo>
                <a:cubicBezTo>
                  <a:pt x="708469" y="2019660"/>
                  <a:pt x="715064" y="2010255"/>
                  <a:pt x="715064" y="1993888"/>
                </a:cubicBezTo>
                <a:lnTo>
                  <a:pt x="715370" y="0"/>
                </a:lnTo>
                <a:cubicBezTo>
                  <a:pt x="734790" y="18504"/>
                  <a:pt x="740408" y="34871"/>
                  <a:pt x="753600" y="36764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6" name="Freeform: Shape 195">
            <a:extLst>
              <a:ext uri="{FF2B5EF4-FFF2-40B4-BE49-F238E27FC236}">
                <a16:creationId xmlns:a16="http://schemas.microsoft.com/office/drawing/2014/main" id="{C92CBA44-AA87-FD95-AC8F-7F9BBB77BDBC}"/>
              </a:ext>
            </a:extLst>
          </p:cNvPr>
          <p:cNvSpPr/>
          <p:nvPr/>
        </p:nvSpPr>
        <p:spPr>
          <a:xfrm rot="20145245" flipH="1">
            <a:off x="5990091" y="2905281"/>
            <a:ext cx="78821" cy="36259"/>
          </a:xfrm>
          <a:custGeom>
            <a:avLst/>
            <a:gdLst>
              <a:gd name="csX0" fmla="*/ 899426 w 1180472"/>
              <a:gd name="csY0" fmla="*/ 14426 h 543038"/>
              <a:gd name="csX1" fmla="*/ 1134120 w 1180472"/>
              <a:gd name="csY1" fmla="*/ 339260 h 543038"/>
              <a:gd name="csX2" fmla="*/ 1180472 w 1180472"/>
              <a:gd name="csY2" fmla="*/ 391597 h 543038"/>
              <a:gd name="csX3" fmla="*/ 315349 w 1180472"/>
              <a:gd name="csY3" fmla="*/ 541586 h 543038"/>
              <a:gd name="csX4" fmla="*/ 237972 w 1180472"/>
              <a:gd name="csY4" fmla="*/ 510013 h 543038"/>
              <a:gd name="csX5" fmla="*/ 5355 w 1180472"/>
              <a:gd name="csY5" fmla="*/ 186339 h 543038"/>
              <a:gd name="csX6" fmla="*/ 2790 w 1180472"/>
              <a:gd name="csY6" fmla="*/ 157026 h 543038"/>
              <a:gd name="csX7" fmla="*/ 853440 w 1180472"/>
              <a:gd name="csY7" fmla="*/ 930 h 543038"/>
              <a:gd name="csX8" fmla="*/ 899426 w 1180472"/>
              <a:gd name="csY8" fmla="*/ 14487 h 543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80472" h="543038">
                <a:moveTo>
                  <a:pt x="899426" y="14426"/>
                </a:moveTo>
                <a:cubicBezTo>
                  <a:pt x="965016" y="123681"/>
                  <a:pt x="1042453" y="235745"/>
                  <a:pt x="1134120" y="339260"/>
                </a:cubicBezTo>
                <a:lnTo>
                  <a:pt x="1180472" y="391597"/>
                </a:lnTo>
                <a:lnTo>
                  <a:pt x="315349" y="541586"/>
                </a:lnTo>
                <a:cubicBezTo>
                  <a:pt x="281821" y="547388"/>
                  <a:pt x="255255" y="535601"/>
                  <a:pt x="237972" y="510013"/>
                </a:cubicBezTo>
                <a:cubicBezTo>
                  <a:pt x="161634" y="397277"/>
                  <a:pt x="70334" y="300114"/>
                  <a:pt x="5355" y="186339"/>
                </a:cubicBezTo>
                <a:cubicBezTo>
                  <a:pt x="2790" y="178095"/>
                  <a:pt x="-3683" y="168934"/>
                  <a:pt x="2790" y="157026"/>
                </a:cubicBezTo>
                <a:lnTo>
                  <a:pt x="853440" y="930"/>
                </a:lnTo>
                <a:cubicBezTo>
                  <a:pt x="873960" y="-2857"/>
                  <a:pt x="889594" y="5571"/>
                  <a:pt x="899426" y="14487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9" name="Freeform: Shape 198">
            <a:extLst>
              <a:ext uri="{FF2B5EF4-FFF2-40B4-BE49-F238E27FC236}">
                <a16:creationId xmlns:a16="http://schemas.microsoft.com/office/drawing/2014/main" id="{214F6192-7291-6F7E-DC55-E30FE5DCC8AA}"/>
              </a:ext>
            </a:extLst>
          </p:cNvPr>
          <p:cNvSpPr>
            <a:spLocks/>
          </p:cNvSpPr>
          <p:nvPr/>
        </p:nvSpPr>
        <p:spPr>
          <a:xfrm>
            <a:off x="7061409" y="2303762"/>
            <a:ext cx="457612" cy="617774"/>
          </a:xfrm>
          <a:custGeom>
            <a:avLst/>
            <a:gdLst>
              <a:gd name="csX0" fmla="*/ 189987 w 676111"/>
              <a:gd name="csY0" fmla="*/ 0 h 912748"/>
              <a:gd name="csX1" fmla="*/ 213969 w 676111"/>
              <a:gd name="csY1" fmla="*/ 0 h 912748"/>
              <a:gd name="csX2" fmla="*/ 640442 w 676111"/>
              <a:gd name="csY2" fmla="*/ 0 h 912748"/>
              <a:gd name="csX3" fmla="*/ 642305 w 676111"/>
              <a:gd name="csY3" fmla="*/ 0 h 912748"/>
              <a:gd name="csX4" fmla="*/ 676111 w 676111"/>
              <a:gd name="csY4" fmla="*/ 33805 h 912748"/>
              <a:gd name="csX5" fmla="*/ 676111 w 676111"/>
              <a:gd name="csY5" fmla="*/ 422569 h 912748"/>
              <a:gd name="csX6" fmla="*/ 676110 w 676111"/>
              <a:gd name="csY6" fmla="*/ 422571 h 912748"/>
              <a:gd name="csX7" fmla="*/ 676110 w 676111"/>
              <a:gd name="csY7" fmla="*/ 877080 h 912748"/>
              <a:gd name="csX8" fmla="*/ 640442 w 676111"/>
              <a:gd name="csY8" fmla="*/ 912748 h 912748"/>
              <a:gd name="csX9" fmla="*/ 523986 w 676111"/>
              <a:gd name="csY9" fmla="*/ 912748 h 912748"/>
              <a:gd name="csX10" fmla="*/ 213969 w 676111"/>
              <a:gd name="csY10" fmla="*/ 912748 h 912748"/>
              <a:gd name="csX11" fmla="*/ 33805 w 676111"/>
              <a:gd name="csY11" fmla="*/ 912748 h 912748"/>
              <a:gd name="csX12" fmla="*/ 0 w 676111"/>
              <a:gd name="csY12" fmla="*/ 878943 h 912748"/>
              <a:gd name="csX13" fmla="*/ 0 w 676111"/>
              <a:gd name="csY13" fmla="*/ 189987 h 912748"/>
              <a:gd name="csX14" fmla="*/ 14874 w 676111"/>
              <a:gd name="csY14" fmla="*/ 154153 h 912748"/>
              <a:gd name="csX15" fmla="*/ 154153 w 676111"/>
              <a:gd name="csY15" fmla="*/ 14874 h 912748"/>
              <a:gd name="csX16" fmla="*/ 189987 w 676111"/>
              <a:gd name="csY16" fmla="*/ 0 h 9127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676111" h="912748">
                <a:moveTo>
                  <a:pt x="189987" y="0"/>
                </a:moveTo>
                <a:lnTo>
                  <a:pt x="213969" y="0"/>
                </a:lnTo>
                <a:lnTo>
                  <a:pt x="640442" y="0"/>
                </a:lnTo>
                <a:lnTo>
                  <a:pt x="642305" y="0"/>
                </a:lnTo>
                <a:cubicBezTo>
                  <a:pt x="660952" y="56"/>
                  <a:pt x="676055" y="15159"/>
                  <a:pt x="676111" y="33805"/>
                </a:cubicBezTo>
                <a:lnTo>
                  <a:pt x="676111" y="422569"/>
                </a:lnTo>
                <a:lnTo>
                  <a:pt x="676110" y="422571"/>
                </a:lnTo>
                <a:lnTo>
                  <a:pt x="676110" y="877080"/>
                </a:lnTo>
                <a:cubicBezTo>
                  <a:pt x="676110" y="896779"/>
                  <a:pt x="660141" y="912748"/>
                  <a:pt x="640442" y="912748"/>
                </a:cubicBezTo>
                <a:lnTo>
                  <a:pt x="523986" y="912748"/>
                </a:lnTo>
                <a:lnTo>
                  <a:pt x="213969" y="912748"/>
                </a:lnTo>
                <a:lnTo>
                  <a:pt x="33805" y="912748"/>
                </a:lnTo>
                <a:cubicBezTo>
                  <a:pt x="15159" y="912692"/>
                  <a:pt x="56" y="897590"/>
                  <a:pt x="0" y="878943"/>
                </a:cubicBezTo>
                <a:lnTo>
                  <a:pt x="0" y="189987"/>
                </a:lnTo>
                <a:cubicBezTo>
                  <a:pt x="40" y="176548"/>
                  <a:pt x="5386" y="163669"/>
                  <a:pt x="14874" y="154153"/>
                </a:cubicBezTo>
                <a:lnTo>
                  <a:pt x="154153" y="14874"/>
                </a:lnTo>
                <a:cubicBezTo>
                  <a:pt x="163669" y="5386"/>
                  <a:pt x="176548" y="40"/>
                  <a:pt x="189987" y="0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18900000" scaled="1"/>
          </a:gradFill>
          <a:ln w="1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dirty="0"/>
          </a:p>
        </p:txBody>
      </p:sp>
      <p:sp>
        <p:nvSpPr>
          <p:cNvPr id="200" name="Freeform: Shape 199">
            <a:extLst>
              <a:ext uri="{FF2B5EF4-FFF2-40B4-BE49-F238E27FC236}">
                <a16:creationId xmlns:a16="http://schemas.microsoft.com/office/drawing/2014/main" id="{01E8D008-8AB9-BE29-55A9-C9B4E3C161AF}"/>
              </a:ext>
            </a:extLst>
          </p:cNvPr>
          <p:cNvSpPr/>
          <p:nvPr/>
        </p:nvSpPr>
        <p:spPr>
          <a:xfrm>
            <a:off x="7061409" y="2303762"/>
            <a:ext cx="111199" cy="111199"/>
          </a:xfrm>
          <a:custGeom>
            <a:avLst/>
            <a:gdLst>
              <a:gd name="csX0" fmla="*/ 224344 w 224344"/>
              <a:gd name="csY0" fmla="*/ 0 h 224344"/>
              <a:gd name="csX1" fmla="*/ 224344 w 224344"/>
              <a:gd name="csY1" fmla="*/ 178183 h 224344"/>
              <a:gd name="csX2" fmla="*/ 178183 w 224344"/>
              <a:gd name="csY2" fmla="*/ 224344 h 224344"/>
              <a:gd name="csX3" fmla="*/ 0 w 224344"/>
              <a:gd name="csY3" fmla="*/ 224344 h 224344"/>
              <a:gd name="csX4" fmla="*/ 13848 w 224344"/>
              <a:gd name="csY4" fmla="*/ 204033 h 224344"/>
              <a:gd name="csX5" fmla="*/ 204033 w 224344"/>
              <a:gd name="csY5" fmla="*/ 13848 h 224344"/>
              <a:gd name="csX6" fmla="*/ 224344 w 224344"/>
              <a:gd name="csY6" fmla="*/ 0 h 2243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24344" h="224344">
                <a:moveTo>
                  <a:pt x="224344" y="0"/>
                </a:moveTo>
                <a:lnTo>
                  <a:pt x="224344" y="178183"/>
                </a:lnTo>
                <a:cubicBezTo>
                  <a:pt x="224268" y="203645"/>
                  <a:pt x="203645" y="224268"/>
                  <a:pt x="178183" y="224344"/>
                </a:cubicBezTo>
                <a:lnTo>
                  <a:pt x="0" y="224344"/>
                </a:lnTo>
                <a:cubicBezTo>
                  <a:pt x="3308" y="216769"/>
                  <a:pt x="8005" y="209880"/>
                  <a:pt x="13848" y="204033"/>
                </a:cubicBezTo>
                <a:lnTo>
                  <a:pt x="204033" y="13848"/>
                </a:lnTo>
                <a:cubicBezTo>
                  <a:pt x="209880" y="8005"/>
                  <a:pt x="216769" y="3308"/>
                  <a:pt x="224344" y="0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201" name="Freeform: Shape 200">
            <a:extLst>
              <a:ext uri="{FF2B5EF4-FFF2-40B4-BE49-F238E27FC236}">
                <a16:creationId xmlns:a16="http://schemas.microsoft.com/office/drawing/2014/main" id="{8EAD2CEA-A323-B952-D287-F349D68A4BD7}"/>
              </a:ext>
            </a:extLst>
          </p:cNvPr>
          <p:cNvSpPr/>
          <p:nvPr/>
        </p:nvSpPr>
        <p:spPr>
          <a:xfrm>
            <a:off x="7392230" y="2667263"/>
            <a:ext cx="276462" cy="276460"/>
          </a:xfrm>
          <a:custGeom>
            <a:avLst/>
            <a:gdLst>
              <a:gd name="csX0" fmla="*/ 784743 w 784742"/>
              <a:gd name="csY0" fmla="*/ 392371 h 784742"/>
              <a:gd name="csX1" fmla="*/ 392371 w 784742"/>
              <a:gd name="csY1" fmla="*/ 784743 h 784742"/>
              <a:gd name="csX2" fmla="*/ 0 w 784742"/>
              <a:gd name="csY2" fmla="*/ 392371 h 784742"/>
              <a:gd name="csX3" fmla="*/ 392371 w 784742"/>
              <a:gd name="csY3" fmla="*/ 0 h 784742"/>
              <a:gd name="csX4" fmla="*/ 784743 w 784742"/>
              <a:gd name="csY4" fmla="*/ 392371 h 7847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784742" h="784742">
                <a:moveTo>
                  <a:pt x="784743" y="392371"/>
                </a:moveTo>
                <a:cubicBezTo>
                  <a:pt x="784743" y="609072"/>
                  <a:pt x="609072" y="784743"/>
                  <a:pt x="392371" y="784743"/>
                </a:cubicBezTo>
                <a:cubicBezTo>
                  <a:pt x="175671" y="784743"/>
                  <a:pt x="0" y="609072"/>
                  <a:pt x="0" y="392371"/>
                </a:cubicBezTo>
                <a:cubicBezTo>
                  <a:pt x="0" y="175671"/>
                  <a:pt x="175671" y="0"/>
                  <a:pt x="392371" y="0"/>
                </a:cubicBezTo>
                <a:cubicBezTo>
                  <a:pt x="609072" y="0"/>
                  <a:pt x="784743" y="175671"/>
                  <a:pt x="784743" y="392371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202" name="Freeform: Shape 201">
            <a:extLst>
              <a:ext uri="{FF2B5EF4-FFF2-40B4-BE49-F238E27FC236}">
                <a16:creationId xmlns:a16="http://schemas.microsoft.com/office/drawing/2014/main" id="{E08D5DCC-6C96-5B44-7121-A5F7D6D37B2D}"/>
              </a:ext>
            </a:extLst>
          </p:cNvPr>
          <p:cNvSpPr/>
          <p:nvPr/>
        </p:nvSpPr>
        <p:spPr>
          <a:xfrm>
            <a:off x="7118751" y="2795692"/>
            <a:ext cx="194344" cy="80172"/>
          </a:xfrm>
          <a:custGeom>
            <a:avLst/>
            <a:gdLst>
              <a:gd name="csX0" fmla="*/ 369007 w 392087"/>
              <a:gd name="csY0" fmla="*/ 161565 h 161746"/>
              <a:gd name="csX1" fmla="*/ 253604 w 392087"/>
              <a:gd name="csY1" fmla="*/ 113095 h 161746"/>
              <a:gd name="csX2" fmla="*/ 138200 w 392087"/>
              <a:gd name="csY2" fmla="*/ 161565 h 161746"/>
              <a:gd name="csX3" fmla="*/ 115120 w 392087"/>
              <a:gd name="csY3" fmla="*/ 157987 h 161746"/>
              <a:gd name="csX4" fmla="*/ 92039 w 392087"/>
              <a:gd name="csY4" fmla="*/ 161565 h 161746"/>
              <a:gd name="csX5" fmla="*/ 6479 w 392087"/>
              <a:gd name="csY5" fmla="*/ 131721 h 161746"/>
              <a:gd name="csX6" fmla="*/ 7046 w 392087"/>
              <a:gd name="csY6" fmla="*/ 99085 h 161746"/>
              <a:gd name="csX7" fmla="*/ 39115 w 392087"/>
              <a:gd name="csY7" fmla="*/ 99085 h 161746"/>
              <a:gd name="csX8" fmla="*/ 54810 w 392087"/>
              <a:gd name="csY8" fmla="*/ 108318 h 161746"/>
              <a:gd name="csX9" fmla="*/ 45878 w 392087"/>
              <a:gd name="csY9" fmla="*/ 69242 h 161746"/>
              <a:gd name="csX10" fmla="*/ 115120 w 392087"/>
              <a:gd name="csY10" fmla="*/ 0 h 161746"/>
              <a:gd name="csX11" fmla="*/ 184362 w 392087"/>
              <a:gd name="csY11" fmla="*/ 69242 h 161746"/>
              <a:gd name="csX12" fmla="*/ 174275 w 392087"/>
              <a:gd name="csY12" fmla="*/ 110603 h 161746"/>
              <a:gd name="csX13" fmla="*/ 231723 w 392087"/>
              <a:gd name="csY13" fmla="*/ 61948 h 161746"/>
              <a:gd name="csX14" fmla="*/ 260857 w 392087"/>
              <a:gd name="csY14" fmla="*/ 47229 h 161746"/>
              <a:gd name="csX15" fmla="*/ 275577 w 392087"/>
              <a:gd name="csY15" fmla="*/ 61948 h 161746"/>
              <a:gd name="csX16" fmla="*/ 369007 w 392087"/>
              <a:gd name="csY16" fmla="*/ 115403 h 161746"/>
              <a:gd name="csX17" fmla="*/ 392088 w 392087"/>
              <a:gd name="csY17" fmla="*/ 138484 h 161746"/>
              <a:gd name="csX18" fmla="*/ 369007 w 392087"/>
              <a:gd name="csY18" fmla="*/ 161565 h 161746"/>
              <a:gd name="csX19" fmla="*/ 115120 w 392087"/>
              <a:gd name="csY19" fmla="*/ 46161 h 161746"/>
              <a:gd name="csX20" fmla="*/ 92039 w 392087"/>
              <a:gd name="csY20" fmla="*/ 69242 h 161746"/>
              <a:gd name="csX21" fmla="*/ 115120 w 392087"/>
              <a:gd name="csY21" fmla="*/ 107810 h 161746"/>
              <a:gd name="csX22" fmla="*/ 138200 w 392087"/>
              <a:gd name="csY22" fmla="*/ 69242 h 161746"/>
              <a:gd name="csX23" fmla="*/ 115120 w 392087"/>
              <a:gd name="csY23" fmla="*/ 46161 h 1617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392087" h="161746">
                <a:moveTo>
                  <a:pt x="369007" y="161565"/>
                </a:moveTo>
                <a:cubicBezTo>
                  <a:pt x="325176" y="163764"/>
                  <a:pt x="282720" y="145932"/>
                  <a:pt x="253604" y="113095"/>
                </a:cubicBezTo>
                <a:cubicBezTo>
                  <a:pt x="224488" y="145932"/>
                  <a:pt x="182031" y="163764"/>
                  <a:pt x="138200" y="161565"/>
                </a:cubicBezTo>
                <a:cubicBezTo>
                  <a:pt x="130376" y="161471"/>
                  <a:pt x="122605" y="160267"/>
                  <a:pt x="115120" y="157987"/>
                </a:cubicBezTo>
                <a:cubicBezTo>
                  <a:pt x="107634" y="160267"/>
                  <a:pt x="99863" y="161471"/>
                  <a:pt x="92039" y="161565"/>
                </a:cubicBezTo>
                <a:cubicBezTo>
                  <a:pt x="60752" y="162922"/>
                  <a:pt x="30134" y="152243"/>
                  <a:pt x="6479" y="131721"/>
                </a:cubicBezTo>
                <a:cubicBezTo>
                  <a:pt x="-2377" y="122553"/>
                  <a:pt x="-2123" y="107941"/>
                  <a:pt x="7046" y="99085"/>
                </a:cubicBezTo>
                <a:cubicBezTo>
                  <a:pt x="15991" y="90447"/>
                  <a:pt x="30171" y="90447"/>
                  <a:pt x="39115" y="99085"/>
                </a:cubicBezTo>
                <a:cubicBezTo>
                  <a:pt x="43822" y="102978"/>
                  <a:pt x="49120" y="106095"/>
                  <a:pt x="54810" y="108318"/>
                </a:cubicBezTo>
                <a:cubicBezTo>
                  <a:pt x="48856" y="96157"/>
                  <a:pt x="45799" y="82782"/>
                  <a:pt x="45878" y="69242"/>
                </a:cubicBezTo>
                <a:cubicBezTo>
                  <a:pt x="45878" y="31001"/>
                  <a:pt x="76878" y="0"/>
                  <a:pt x="115120" y="0"/>
                </a:cubicBezTo>
                <a:cubicBezTo>
                  <a:pt x="153361" y="0"/>
                  <a:pt x="184362" y="31001"/>
                  <a:pt x="184362" y="69242"/>
                </a:cubicBezTo>
                <a:cubicBezTo>
                  <a:pt x="184469" y="83650"/>
                  <a:pt x="181003" y="97861"/>
                  <a:pt x="174275" y="110603"/>
                </a:cubicBezTo>
                <a:cubicBezTo>
                  <a:pt x="199926" y="104155"/>
                  <a:pt x="221141" y="86187"/>
                  <a:pt x="231723" y="61948"/>
                </a:cubicBezTo>
                <a:cubicBezTo>
                  <a:pt x="235704" y="49839"/>
                  <a:pt x="248747" y="43249"/>
                  <a:pt x="260857" y="47229"/>
                </a:cubicBezTo>
                <a:cubicBezTo>
                  <a:pt x="267823" y="49519"/>
                  <a:pt x="273287" y="54982"/>
                  <a:pt x="275577" y="61948"/>
                </a:cubicBezTo>
                <a:cubicBezTo>
                  <a:pt x="276200" y="63933"/>
                  <a:pt x="295426" y="115403"/>
                  <a:pt x="369007" y="115403"/>
                </a:cubicBezTo>
                <a:cubicBezTo>
                  <a:pt x="381754" y="115403"/>
                  <a:pt x="392088" y="125737"/>
                  <a:pt x="392088" y="138484"/>
                </a:cubicBezTo>
                <a:cubicBezTo>
                  <a:pt x="392088" y="151231"/>
                  <a:pt x="381754" y="161565"/>
                  <a:pt x="369007" y="161565"/>
                </a:cubicBezTo>
                <a:close/>
                <a:moveTo>
                  <a:pt x="115120" y="46161"/>
                </a:moveTo>
                <a:cubicBezTo>
                  <a:pt x="102373" y="46161"/>
                  <a:pt x="92039" y="56495"/>
                  <a:pt x="92039" y="69242"/>
                </a:cubicBezTo>
                <a:cubicBezTo>
                  <a:pt x="92183" y="85328"/>
                  <a:pt x="101011" y="100080"/>
                  <a:pt x="115120" y="107810"/>
                </a:cubicBezTo>
                <a:cubicBezTo>
                  <a:pt x="129228" y="100080"/>
                  <a:pt x="138056" y="85328"/>
                  <a:pt x="138200" y="69242"/>
                </a:cubicBezTo>
                <a:cubicBezTo>
                  <a:pt x="138200" y="56495"/>
                  <a:pt x="127867" y="46161"/>
                  <a:pt x="115120" y="46161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grpSp>
        <p:nvGrpSpPr>
          <p:cNvPr id="203" name="Graphic 64">
            <a:extLst>
              <a:ext uri="{FF2B5EF4-FFF2-40B4-BE49-F238E27FC236}">
                <a16:creationId xmlns:a16="http://schemas.microsoft.com/office/drawing/2014/main" id="{07A5CEEF-BE6B-4DAD-B43E-72A3419D5E71}"/>
              </a:ext>
            </a:extLst>
          </p:cNvPr>
          <p:cNvGrpSpPr/>
          <p:nvPr/>
        </p:nvGrpSpPr>
        <p:grpSpPr>
          <a:xfrm>
            <a:off x="7107170" y="2463925"/>
            <a:ext cx="366089" cy="297446"/>
            <a:chOff x="2061661" y="-115204"/>
            <a:chExt cx="738581" cy="600097"/>
          </a:xfr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09C5AF07-F7A7-16F7-04BF-86C70C867789}"/>
                </a:ext>
              </a:extLst>
            </p:cNvPr>
            <p:cNvSpPr/>
            <p:nvPr/>
          </p:nvSpPr>
          <p:spPr>
            <a:xfrm>
              <a:off x="2061661" y="438732"/>
              <a:ext cx="392371" cy="46161"/>
            </a:xfrm>
            <a:custGeom>
              <a:avLst/>
              <a:gdLst>
                <a:gd name="csX0" fmla="*/ 369291 w 392371"/>
                <a:gd name="csY0" fmla="*/ 46161 h 46161"/>
                <a:gd name="csX1" fmla="*/ 23081 w 392371"/>
                <a:gd name="csY1" fmla="*/ 46161 h 46161"/>
                <a:gd name="csX2" fmla="*/ 0 w 392371"/>
                <a:gd name="csY2" fmla="*/ 23081 h 46161"/>
                <a:gd name="csX3" fmla="*/ 23081 w 392371"/>
                <a:gd name="csY3" fmla="*/ 0 h 46161"/>
                <a:gd name="csX4" fmla="*/ 369291 w 392371"/>
                <a:gd name="csY4" fmla="*/ 0 h 46161"/>
                <a:gd name="csX5" fmla="*/ 392371 w 392371"/>
                <a:gd name="csY5" fmla="*/ 23081 h 46161"/>
                <a:gd name="csX6" fmla="*/ 369291 w 39237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92371" h="46161">
                  <a:moveTo>
                    <a:pt x="36929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69291" y="0"/>
                  </a:lnTo>
                  <a:cubicBezTo>
                    <a:pt x="382038" y="0"/>
                    <a:pt x="392371" y="10334"/>
                    <a:pt x="392371" y="23081"/>
                  </a:cubicBezTo>
                  <a:cubicBezTo>
                    <a:pt x="392371" y="35828"/>
                    <a:pt x="382038" y="46161"/>
                    <a:pt x="36929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CA08EB1-F91D-2BCB-78ED-31850134BF65}"/>
                </a:ext>
              </a:extLst>
            </p:cNvPr>
            <p:cNvSpPr/>
            <p:nvPr/>
          </p:nvSpPr>
          <p:spPr>
            <a:xfrm>
              <a:off x="2061661" y="300248"/>
              <a:ext cx="415452" cy="46161"/>
            </a:xfrm>
            <a:custGeom>
              <a:avLst/>
              <a:gdLst>
                <a:gd name="csX0" fmla="*/ 392371 w 415452"/>
                <a:gd name="csY0" fmla="*/ 46161 h 46161"/>
                <a:gd name="csX1" fmla="*/ 23081 w 415452"/>
                <a:gd name="csY1" fmla="*/ 46161 h 46161"/>
                <a:gd name="csX2" fmla="*/ 0 w 415452"/>
                <a:gd name="csY2" fmla="*/ 23081 h 46161"/>
                <a:gd name="csX3" fmla="*/ 23081 w 415452"/>
                <a:gd name="csY3" fmla="*/ 0 h 46161"/>
                <a:gd name="csX4" fmla="*/ 392371 w 415452"/>
                <a:gd name="csY4" fmla="*/ 0 h 46161"/>
                <a:gd name="csX5" fmla="*/ 415452 w 415452"/>
                <a:gd name="csY5" fmla="*/ 23081 h 46161"/>
                <a:gd name="csX6" fmla="*/ 392371 w 415452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15452" h="46161">
                  <a:moveTo>
                    <a:pt x="39237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92371" y="0"/>
                  </a:lnTo>
                  <a:cubicBezTo>
                    <a:pt x="405118" y="0"/>
                    <a:pt x="415452" y="10334"/>
                    <a:pt x="415452" y="23081"/>
                  </a:cubicBezTo>
                  <a:cubicBezTo>
                    <a:pt x="415452" y="35828"/>
                    <a:pt x="405118" y="46161"/>
                    <a:pt x="39237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57FA824-FCBB-0BA8-8D78-406F15E2FE30}"/>
                </a:ext>
              </a:extLst>
            </p:cNvPr>
            <p:cNvSpPr/>
            <p:nvPr/>
          </p:nvSpPr>
          <p:spPr>
            <a:xfrm>
              <a:off x="2061661" y="161764"/>
              <a:ext cx="507774" cy="46161"/>
            </a:xfrm>
            <a:custGeom>
              <a:avLst/>
              <a:gdLst>
                <a:gd name="csX0" fmla="*/ 484694 w 507774"/>
                <a:gd name="csY0" fmla="*/ 46161 h 46161"/>
                <a:gd name="csX1" fmla="*/ 23081 w 507774"/>
                <a:gd name="csY1" fmla="*/ 46161 h 46161"/>
                <a:gd name="csX2" fmla="*/ 0 w 507774"/>
                <a:gd name="csY2" fmla="*/ 23081 h 46161"/>
                <a:gd name="csX3" fmla="*/ 23081 w 507774"/>
                <a:gd name="csY3" fmla="*/ 0 h 46161"/>
                <a:gd name="csX4" fmla="*/ 484694 w 507774"/>
                <a:gd name="csY4" fmla="*/ 0 h 46161"/>
                <a:gd name="csX5" fmla="*/ 507775 w 507774"/>
                <a:gd name="csY5" fmla="*/ 23081 h 46161"/>
                <a:gd name="csX6" fmla="*/ 484694 w 507774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07774" h="46161">
                  <a:moveTo>
                    <a:pt x="484694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484694" y="0"/>
                  </a:lnTo>
                  <a:cubicBezTo>
                    <a:pt x="497441" y="0"/>
                    <a:pt x="507775" y="10334"/>
                    <a:pt x="507775" y="23081"/>
                  </a:cubicBezTo>
                  <a:cubicBezTo>
                    <a:pt x="507775" y="35828"/>
                    <a:pt x="497441" y="46161"/>
                    <a:pt x="484694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81344444-12E0-ED11-5036-94C31E02D34B}"/>
                </a:ext>
              </a:extLst>
            </p:cNvPr>
            <p:cNvSpPr/>
            <p:nvPr/>
          </p:nvSpPr>
          <p:spPr>
            <a:xfrm>
              <a:off x="2061661" y="23280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C121AF08-8BE0-2E99-729A-7072AC578E0D}"/>
                </a:ext>
              </a:extLst>
            </p:cNvPr>
            <p:cNvSpPr/>
            <p:nvPr/>
          </p:nvSpPr>
          <p:spPr>
            <a:xfrm>
              <a:off x="2061661" y="-115204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204" name="Freeform: Shape 203">
            <a:extLst>
              <a:ext uri="{FF2B5EF4-FFF2-40B4-BE49-F238E27FC236}">
                <a16:creationId xmlns:a16="http://schemas.microsoft.com/office/drawing/2014/main" id="{B1BB1281-62C3-640D-7B19-F3419DDA5F17}"/>
              </a:ext>
            </a:extLst>
          </p:cNvPr>
          <p:cNvSpPr/>
          <p:nvPr/>
        </p:nvSpPr>
        <p:spPr>
          <a:xfrm rot="20145245" flipH="1">
            <a:off x="7688982" y="2916767"/>
            <a:ext cx="903" cy="657"/>
          </a:xfrm>
          <a:custGeom>
            <a:avLst/>
            <a:gdLst>
              <a:gd name="csX0" fmla="*/ 12458 w 13527"/>
              <a:gd name="csY0" fmla="*/ 9832 h 9832"/>
              <a:gd name="csX1" fmla="*/ 0 w 13527"/>
              <a:gd name="csY1" fmla="*/ 0 h 9832"/>
              <a:gd name="csX2" fmla="*/ 12458 w 13527"/>
              <a:gd name="csY2" fmla="*/ 9832 h 98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7" h="9832">
                <a:moveTo>
                  <a:pt x="12458" y="9832"/>
                </a:moveTo>
                <a:cubicBezTo>
                  <a:pt x="7389" y="7634"/>
                  <a:pt x="2382" y="5313"/>
                  <a:pt x="0" y="0"/>
                </a:cubicBezTo>
                <a:cubicBezTo>
                  <a:pt x="5130" y="1221"/>
                  <a:pt x="17161" y="2138"/>
                  <a:pt x="12458" y="9832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6" name="Freeform: Shape 205">
            <a:extLst>
              <a:ext uri="{FF2B5EF4-FFF2-40B4-BE49-F238E27FC236}">
                <a16:creationId xmlns:a16="http://schemas.microsoft.com/office/drawing/2014/main" id="{30F75429-2298-E5D1-9D3B-21D4E2C88A4A}"/>
              </a:ext>
            </a:extLst>
          </p:cNvPr>
          <p:cNvSpPr/>
          <p:nvPr/>
        </p:nvSpPr>
        <p:spPr>
          <a:xfrm rot="20145245" flipH="1">
            <a:off x="7619639" y="2799621"/>
            <a:ext cx="112946" cy="139232"/>
          </a:xfrm>
          <a:custGeom>
            <a:avLst/>
            <a:gdLst>
              <a:gd name="csX0" fmla="*/ 1691555 w 1691554"/>
              <a:gd name="csY0" fmla="*/ 70263 h 2085222"/>
              <a:gd name="csX1" fmla="*/ 1676715 w 1691554"/>
              <a:gd name="csY1" fmla="*/ 89317 h 2085222"/>
              <a:gd name="csX2" fmla="*/ 1676410 w 1691554"/>
              <a:gd name="csY2" fmla="*/ 2019265 h 2085222"/>
              <a:gd name="csX3" fmla="*/ 1596346 w 1691554"/>
              <a:gd name="csY3" fmla="*/ 2081679 h 2085222"/>
              <a:gd name="csX4" fmla="*/ 992360 w 1691554"/>
              <a:gd name="csY4" fmla="*/ 1820786 h 2085222"/>
              <a:gd name="csX5" fmla="*/ 963779 w 1691554"/>
              <a:gd name="csY5" fmla="*/ 1782922 h 2085222"/>
              <a:gd name="csX6" fmla="*/ 951320 w 1691554"/>
              <a:gd name="csY6" fmla="*/ 1773090 h 2085222"/>
              <a:gd name="csX7" fmla="*/ 938618 w 1691554"/>
              <a:gd name="csY7" fmla="*/ 1772662 h 2085222"/>
              <a:gd name="csX8" fmla="*/ 895319 w 1691554"/>
              <a:gd name="csY8" fmla="*/ 1782373 h 2085222"/>
              <a:gd name="csX9" fmla="*/ 60059 w 1691554"/>
              <a:gd name="csY9" fmla="*/ 1935720 h 2085222"/>
              <a:gd name="csX10" fmla="*/ 44608 w 1691554"/>
              <a:gd name="csY10" fmla="*/ 1944515 h 2085222"/>
              <a:gd name="csX11" fmla="*/ 27 w 1691554"/>
              <a:gd name="csY11" fmla="*/ 1877948 h 2085222"/>
              <a:gd name="csX12" fmla="*/ 1606117 w 1691554"/>
              <a:gd name="csY12" fmla="*/ 1010 h 2085222"/>
              <a:gd name="csX13" fmla="*/ 1691555 w 1691554"/>
              <a:gd name="csY13" fmla="*/ 70325 h 20852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691554" h="2085222">
                <a:moveTo>
                  <a:pt x="1691555" y="70263"/>
                </a:moveTo>
                <a:lnTo>
                  <a:pt x="1676715" y="89317"/>
                </a:lnTo>
                <a:lnTo>
                  <a:pt x="1676410" y="2019265"/>
                </a:lnTo>
                <a:cubicBezTo>
                  <a:pt x="1665966" y="2074106"/>
                  <a:pt x="1659615" y="2094076"/>
                  <a:pt x="1596346" y="2081679"/>
                </a:cubicBezTo>
                <a:lnTo>
                  <a:pt x="992360" y="1820786"/>
                </a:lnTo>
                <a:cubicBezTo>
                  <a:pt x="975138" y="1810893"/>
                  <a:pt x="965611" y="1798251"/>
                  <a:pt x="963779" y="1782922"/>
                </a:cubicBezTo>
                <a:lnTo>
                  <a:pt x="951320" y="1773090"/>
                </a:lnTo>
                <a:cubicBezTo>
                  <a:pt x="946923" y="1779197"/>
                  <a:pt x="942709" y="1779075"/>
                  <a:pt x="938618" y="1772662"/>
                </a:cubicBezTo>
                <a:cubicBezTo>
                  <a:pt x="927625" y="1782922"/>
                  <a:pt x="913151" y="1786159"/>
                  <a:pt x="895319" y="1782373"/>
                </a:cubicBezTo>
                <a:lnTo>
                  <a:pt x="60059" y="1935720"/>
                </a:lnTo>
                <a:cubicBezTo>
                  <a:pt x="66288" y="1921125"/>
                  <a:pt x="61158" y="1924056"/>
                  <a:pt x="44608" y="1944515"/>
                </a:cubicBezTo>
                <a:cubicBezTo>
                  <a:pt x="32211" y="1922835"/>
                  <a:pt x="-1073" y="1914468"/>
                  <a:pt x="27" y="1877948"/>
                </a:cubicBezTo>
                <a:lnTo>
                  <a:pt x="1606117" y="1010"/>
                </a:lnTo>
                <a:cubicBezTo>
                  <a:pt x="1656989" y="-7296"/>
                  <a:pt x="1674577" y="37408"/>
                  <a:pt x="1691555" y="70325"/>
                </a:cubicBezTo>
                <a:close/>
              </a:path>
            </a:pathLst>
          </a:custGeom>
          <a:gradFill>
            <a:gsLst>
              <a:gs pos="63000">
                <a:schemeClr val="accent2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2700000" scaled="0"/>
          </a:gra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7" name="Freeform: Shape 206">
            <a:extLst>
              <a:ext uri="{FF2B5EF4-FFF2-40B4-BE49-F238E27FC236}">
                <a16:creationId xmlns:a16="http://schemas.microsoft.com/office/drawing/2014/main" id="{BB74B05F-DE8F-29A7-1D3B-CD06A65665DF}"/>
              </a:ext>
            </a:extLst>
          </p:cNvPr>
          <p:cNvSpPr/>
          <p:nvPr/>
        </p:nvSpPr>
        <p:spPr>
          <a:xfrm rot="20145245" flipH="1">
            <a:off x="7611825" y="2816993"/>
            <a:ext cx="66951" cy="160694"/>
          </a:xfrm>
          <a:custGeom>
            <a:avLst/>
            <a:gdLst>
              <a:gd name="csX0" fmla="*/ 753539 w 1002707"/>
              <a:gd name="csY0" fmla="*/ 36703 h 2406639"/>
              <a:gd name="csX1" fmla="*/ 999164 w 1002707"/>
              <a:gd name="csY1" fmla="*/ 364713 h 2406639"/>
              <a:gd name="csX2" fmla="*/ 1002034 w 1002707"/>
              <a:gd name="csY2" fmla="*/ 2402205 h 2406639"/>
              <a:gd name="csX3" fmla="*/ 869023 w 1002707"/>
              <a:gd name="csY3" fmla="*/ 2372403 h 2406639"/>
              <a:gd name="csX4" fmla="*/ 515486 w 1002707"/>
              <a:gd name="csY4" fmla="*/ 2222536 h 2406639"/>
              <a:gd name="csX5" fmla="*/ 281892 w 1002707"/>
              <a:gd name="csY5" fmla="*/ 2116273 h 2406639"/>
              <a:gd name="csX6" fmla="*/ 241158 w 1002707"/>
              <a:gd name="csY6" fmla="*/ 2105647 h 2406639"/>
              <a:gd name="csX7" fmla="*/ 785 w 1002707"/>
              <a:gd name="csY7" fmla="*/ 1769271 h 2406639"/>
              <a:gd name="csX8" fmla="*/ 785 w 1002707"/>
              <a:gd name="csY8" fmla="*/ 1739163 h 2406639"/>
              <a:gd name="csX9" fmla="*/ 13487 w 1002707"/>
              <a:gd name="csY9" fmla="*/ 1739591 h 2406639"/>
              <a:gd name="csX10" fmla="*/ 25946 w 1002707"/>
              <a:gd name="csY10" fmla="*/ 1749423 h 2406639"/>
              <a:gd name="csX11" fmla="*/ 670361 w 1002707"/>
              <a:gd name="csY11" fmla="*/ 2027843 h 2406639"/>
              <a:gd name="csX12" fmla="*/ 703461 w 1002707"/>
              <a:gd name="csY12" fmla="*/ 2023996 h 2406639"/>
              <a:gd name="csX13" fmla="*/ 715064 w 1002707"/>
              <a:gd name="csY13" fmla="*/ 1993888 h 2406639"/>
              <a:gd name="csX14" fmla="*/ 715370 w 1002707"/>
              <a:gd name="csY14" fmla="*/ 0 h 2406639"/>
              <a:gd name="csX15" fmla="*/ 753600 w 1002707"/>
              <a:gd name="csY15" fmla="*/ 36764 h 2406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002707" h="2406639">
                <a:moveTo>
                  <a:pt x="753539" y="36703"/>
                </a:moveTo>
                <a:cubicBezTo>
                  <a:pt x="768623" y="38841"/>
                  <a:pt x="990370" y="331063"/>
                  <a:pt x="999164" y="364713"/>
                </a:cubicBezTo>
                <a:cubicBezTo>
                  <a:pt x="1002584" y="1044182"/>
                  <a:pt x="1003500" y="1723346"/>
                  <a:pt x="1002034" y="2402205"/>
                </a:cubicBezTo>
                <a:cubicBezTo>
                  <a:pt x="962094" y="2413381"/>
                  <a:pt x="917757" y="2403426"/>
                  <a:pt x="869023" y="2372403"/>
                </a:cubicBezTo>
                <a:cubicBezTo>
                  <a:pt x="748592" y="2336676"/>
                  <a:pt x="636222" y="2274995"/>
                  <a:pt x="515486" y="2222536"/>
                </a:cubicBezTo>
                <a:cubicBezTo>
                  <a:pt x="434446" y="2187359"/>
                  <a:pt x="355359" y="2158168"/>
                  <a:pt x="281892" y="2116273"/>
                </a:cubicBezTo>
                <a:lnTo>
                  <a:pt x="241158" y="2105647"/>
                </a:lnTo>
                <a:cubicBezTo>
                  <a:pt x="185950" y="2054226"/>
                  <a:pt x="8296" y="1829609"/>
                  <a:pt x="785" y="1769271"/>
                </a:cubicBezTo>
                <a:cubicBezTo>
                  <a:pt x="-437" y="1759378"/>
                  <a:pt x="-70" y="1749301"/>
                  <a:pt x="785" y="1739163"/>
                </a:cubicBezTo>
                <a:cubicBezTo>
                  <a:pt x="4937" y="1739713"/>
                  <a:pt x="9396" y="1738553"/>
                  <a:pt x="13487" y="1739591"/>
                </a:cubicBezTo>
                <a:lnTo>
                  <a:pt x="25946" y="1749423"/>
                </a:lnTo>
                <a:lnTo>
                  <a:pt x="670361" y="2027843"/>
                </a:lnTo>
                <a:cubicBezTo>
                  <a:pt x="682453" y="2033095"/>
                  <a:pt x="697781" y="2028943"/>
                  <a:pt x="703461" y="2023996"/>
                </a:cubicBezTo>
                <a:cubicBezTo>
                  <a:pt x="708469" y="2019660"/>
                  <a:pt x="715064" y="2010255"/>
                  <a:pt x="715064" y="1993888"/>
                </a:cubicBezTo>
                <a:lnTo>
                  <a:pt x="715370" y="0"/>
                </a:lnTo>
                <a:cubicBezTo>
                  <a:pt x="734790" y="18504"/>
                  <a:pt x="740408" y="34871"/>
                  <a:pt x="753600" y="36764"/>
                </a:cubicBezTo>
                <a:close/>
              </a:path>
            </a:pathLst>
          </a:custGeom>
          <a:solidFill>
            <a:srgbClr val="2D255E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8" name="Freeform: Shape 207">
            <a:extLst>
              <a:ext uri="{FF2B5EF4-FFF2-40B4-BE49-F238E27FC236}">
                <a16:creationId xmlns:a16="http://schemas.microsoft.com/office/drawing/2014/main" id="{61A3CDC2-DC11-941B-1FD6-766EFA10F598}"/>
              </a:ext>
            </a:extLst>
          </p:cNvPr>
          <p:cNvSpPr/>
          <p:nvPr/>
        </p:nvSpPr>
        <p:spPr>
          <a:xfrm rot="20145245" flipH="1">
            <a:off x="7676931" y="2905283"/>
            <a:ext cx="78821" cy="36259"/>
          </a:xfrm>
          <a:custGeom>
            <a:avLst/>
            <a:gdLst>
              <a:gd name="csX0" fmla="*/ 899426 w 1180472"/>
              <a:gd name="csY0" fmla="*/ 14426 h 543038"/>
              <a:gd name="csX1" fmla="*/ 1134120 w 1180472"/>
              <a:gd name="csY1" fmla="*/ 339260 h 543038"/>
              <a:gd name="csX2" fmla="*/ 1180472 w 1180472"/>
              <a:gd name="csY2" fmla="*/ 391597 h 543038"/>
              <a:gd name="csX3" fmla="*/ 315349 w 1180472"/>
              <a:gd name="csY3" fmla="*/ 541586 h 543038"/>
              <a:gd name="csX4" fmla="*/ 237972 w 1180472"/>
              <a:gd name="csY4" fmla="*/ 510013 h 543038"/>
              <a:gd name="csX5" fmla="*/ 5355 w 1180472"/>
              <a:gd name="csY5" fmla="*/ 186339 h 543038"/>
              <a:gd name="csX6" fmla="*/ 2790 w 1180472"/>
              <a:gd name="csY6" fmla="*/ 157026 h 543038"/>
              <a:gd name="csX7" fmla="*/ 853440 w 1180472"/>
              <a:gd name="csY7" fmla="*/ 930 h 543038"/>
              <a:gd name="csX8" fmla="*/ 899426 w 1180472"/>
              <a:gd name="csY8" fmla="*/ 14487 h 543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80472" h="543038">
                <a:moveTo>
                  <a:pt x="899426" y="14426"/>
                </a:moveTo>
                <a:cubicBezTo>
                  <a:pt x="965016" y="123681"/>
                  <a:pt x="1042453" y="235745"/>
                  <a:pt x="1134120" y="339260"/>
                </a:cubicBezTo>
                <a:lnTo>
                  <a:pt x="1180472" y="391597"/>
                </a:lnTo>
                <a:lnTo>
                  <a:pt x="315349" y="541586"/>
                </a:lnTo>
                <a:cubicBezTo>
                  <a:pt x="281821" y="547388"/>
                  <a:pt x="255255" y="535601"/>
                  <a:pt x="237972" y="510013"/>
                </a:cubicBezTo>
                <a:cubicBezTo>
                  <a:pt x="161634" y="397277"/>
                  <a:pt x="70334" y="300114"/>
                  <a:pt x="5355" y="186339"/>
                </a:cubicBezTo>
                <a:cubicBezTo>
                  <a:pt x="2790" y="178095"/>
                  <a:pt x="-3683" y="168934"/>
                  <a:pt x="2790" y="157026"/>
                </a:cubicBezTo>
                <a:lnTo>
                  <a:pt x="853440" y="930"/>
                </a:lnTo>
                <a:cubicBezTo>
                  <a:pt x="873960" y="-2857"/>
                  <a:pt x="889594" y="5571"/>
                  <a:pt x="899426" y="14487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65F3CDD-8DCB-D9C2-5517-38FD85390DA3}"/>
              </a:ext>
            </a:extLst>
          </p:cNvPr>
          <p:cNvSpPr txBox="1">
            <a:spLocks/>
          </p:cNvSpPr>
          <p:nvPr/>
        </p:nvSpPr>
        <p:spPr>
          <a:xfrm>
            <a:off x="539551" y="1275606"/>
            <a:ext cx="1988354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ts val="2500"/>
              </a:lnSpc>
              <a:defRPr/>
            </a:pPr>
            <a:r>
              <a:rPr lang="fr-FR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RÉPARTITION</a:t>
            </a:r>
            <a:br>
              <a:rPr lang="fr-FR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</a:br>
            <a:r>
              <a:rPr lang="fr-FR" sz="24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HOMMES </a:t>
            </a:r>
            <a:r>
              <a:rPr lang="fr-FR" sz="2400" i="1" noProof="1">
                <a:solidFill>
                  <a:schemeClr val="accent1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/ </a:t>
            </a:r>
            <a:r>
              <a:rPr lang="fr-FR" sz="2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FEMME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73CC4B2-73FC-9FE4-4462-0DF84808964C}"/>
              </a:ext>
            </a:extLst>
          </p:cNvPr>
          <p:cNvSpPr txBox="1">
            <a:spLocks/>
          </p:cNvSpPr>
          <p:nvPr/>
        </p:nvSpPr>
        <p:spPr>
          <a:xfrm>
            <a:off x="3360278" y="3226555"/>
            <a:ext cx="927977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r">
              <a:defRPr/>
            </a:pPr>
            <a:r>
              <a:rPr lang="fr-FR" sz="4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48</a:t>
            </a:r>
            <a:r>
              <a:rPr lang="fr-FR" sz="2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4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0A3CC78-B426-ED02-ACDB-F309E26F7A9B}"/>
              </a:ext>
            </a:extLst>
          </p:cNvPr>
          <p:cNvSpPr txBox="1">
            <a:spLocks/>
          </p:cNvSpPr>
          <p:nvPr/>
        </p:nvSpPr>
        <p:spPr>
          <a:xfrm>
            <a:off x="3360278" y="2406662"/>
            <a:ext cx="927977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r">
              <a:defRPr/>
            </a:pPr>
            <a:r>
              <a:rPr lang="fr-FR" sz="44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52</a:t>
            </a:r>
            <a:r>
              <a:rPr lang="fr-FR" sz="24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4000" i="1" noProof="1">
              <a:solidFill>
                <a:schemeClr val="accent2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grpSp>
        <p:nvGrpSpPr>
          <p:cNvPr id="297" name="Group 296">
            <a:extLst>
              <a:ext uri="{FF2B5EF4-FFF2-40B4-BE49-F238E27FC236}">
                <a16:creationId xmlns:a16="http://schemas.microsoft.com/office/drawing/2014/main" id="{C7FDB261-FEFF-C488-EFF3-C450A9FBA94F}"/>
              </a:ext>
            </a:extLst>
          </p:cNvPr>
          <p:cNvGrpSpPr/>
          <p:nvPr/>
        </p:nvGrpSpPr>
        <p:grpSpPr>
          <a:xfrm>
            <a:off x="539551" y="2454661"/>
            <a:ext cx="2867346" cy="581111"/>
            <a:chOff x="740217" y="2020096"/>
            <a:chExt cx="3599208" cy="729434"/>
          </a:xfrm>
        </p:grpSpPr>
        <p:grpSp>
          <p:nvGrpSpPr>
            <p:cNvPr id="279" name="Group 278">
              <a:extLst>
                <a:ext uri="{FF2B5EF4-FFF2-40B4-BE49-F238E27FC236}">
                  <a16:creationId xmlns:a16="http://schemas.microsoft.com/office/drawing/2014/main" id="{6305781F-0609-D59F-770A-174FC1A6F75A}"/>
                </a:ext>
              </a:extLst>
            </p:cNvPr>
            <p:cNvGrpSpPr/>
            <p:nvPr/>
          </p:nvGrpSpPr>
          <p:grpSpPr>
            <a:xfrm>
              <a:off x="740217" y="2020096"/>
              <a:ext cx="3599208" cy="729434"/>
              <a:chOff x="740217" y="2020096"/>
              <a:chExt cx="3599208" cy="729434"/>
            </a:xfrm>
            <a:gradFill flip="none" rotWithShape="1">
              <a:gsLst>
                <a:gs pos="4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</a:gsLst>
              <a:lin ang="5400000" scaled="1"/>
              <a:tileRect/>
            </a:gradFill>
          </p:grpSpPr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309401E2-DB5A-3EA6-ACD9-65A74BC56A05}"/>
                  </a:ext>
                </a:extLst>
              </p:cNvPr>
              <p:cNvSpPr/>
              <p:nvPr/>
            </p:nvSpPr>
            <p:spPr>
              <a:xfrm>
                <a:off x="740217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7F6EC899-F64C-B685-4462-23C3D4FEC455}"/>
                  </a:ext>
                </a:extLst>
              </p:cNvPr>
              <p:cNvSpPr/>
              <p:nvPr/>
            </p:nvSpPr>
            <p:spPr>
              <a:xfrm>
                <a:off x="1106871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B804639B-D43B-7984-B8B7-6BB420094518}"/>
                  </a:ext>
                </a:extLst>
              </p:cNvPr>
              <p:cNvSpPr/>
              <p:nvPr/>
            </p:nvSpPr>
            <p:spPr>
              <a:xfrm>
                <a:off x="1473525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3453ECBB-D6C4-3830-A01D-853BA250316F}"/>
                  </a:ext>
                </a:extLst>
              </p:cNvPr>
              <p:cNvSpPr/>
              <p:nvPr/>
            </p:nvSpPr>
            <p:spPr>
              <a:xfrm>
                <a:off x="1840178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3C1D636D-683C-C21E-62B4-F1394CF13E06}"/>
                  </a:ext>
                </a:extLst>
              </p:cNvPr>
              <p:cNvSpPr/>
              <p:nvPr/>
            </p:nvSpPr>
            <p:spPr>
              <a:xfrm>
                <a:off x="2206832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202069C4-D7D7-2D07-479B-811D207E9954}"/>
                  </a:ext>
                </a:extLst>
              </p:cNvPr>
              <p:cNvSpPr/>
              <p:nvPr/>
            </p:nvSpPr>
            <p:spPr>
              <a:xfrm>
                <a:off x="2573486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C89ADA21-7D02-F1EA-B70C-059980E907C9}"/>
                  </a:ext>
                </a:extLst>
              </p:cNvPr>
              <p:cNvSpPr/>
              <p:nvPr/>
            </p:nvSpPr>
            <p:spPr>
              <a:xfrm>
                <a:off x="2940140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4046989D-8717-10D8-65F7-4A81FCEC50D1}"/>
                  </a:ext>
                </a:extLst>
              </p:cNvPr>
              <p:cNvSpPr/>
              <p:nvPr/>
            </p:nvSpPr>
            <p:spPr>
              <a:xfrm>
                <a:off x="3306794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1158D2D0-AD00-9B0F-BAE7-109D751C833E}"/>
                  </a:ext>
                </a:extLst>
              </p:cNvPr>
              <p:cNvSpPr/>
              <p:nvPr/>
            </p:nvSpPr>
            <p:spPr>
              <a:xfrm>
                <a:off x="3673448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8D0E18D-7BB5-8F84-D675-3E8F2ABD3F34}"/>
                  </a:ext>
                </a:extLst>
              </p:cNvPr>
              <p:cNvSpPr/>
              <p:nvPr/>
            </p:nvSpPr>
            <p:spPr>
              <a:xfrm>
                <a:off x="4040104" y="2020096"/>
                <a:ext cx="299321" cy="729434"/>
              </a:xfrm>
              <a:custGeom>
                <a:avLst/>
                <a:gdLst>
                  <a:gd name="csX0" fmla="*/ 281458 w 362180"/>
                  <a:gd name="csY0" fmla="*/ 252856 h 882619"/>
                  <a:gd name="csX1" fmla="*/ 303385 w 362180"/>
                  <a:gd name="csY1" fmla="*/ 257521 h 882619"/>
                  <a:gd name="csX2" fmla="*/ 338049 w 362180"/>
                  <a:gd name="csY2" fmla="*/ 275220 h 882619"/>
                  <a:gd name="csX3" fmla="*/ 362010 w 362180"/>
                  <a:gd name="csY3" fmla="*/ 336480 h 882619"/>
                  <a:gd name="csX4" fmla="*/ 356715 w 362180"/>
                  <a:gd name="csY4" fmla="*/ 426799 h 882619"/>
                  <a:gd name="csX5" fmla="*/ 347376 w 362180"/>
                  <a:gd name="csY5" fmla="*/ 547695 h 882619"/>
                  <a:gd name="csX6" fmla="*/ 311808 w 362180"/>
                  <a:gd name="csY6" fmla="*/ 600371 h 882619"/>
                  <a:gd name="csX7" fmla="*/ 294555 w 362180"/>
                  <a:gd name="csY7" fmla="*/ 625344 h 882619"/>
                  <a:gd name="csX8" fmla="*/ 276166 w 362180"/>
                  <a:gd name="csY8" fmla="*/ 734762 h 882619"/>
                  <a:gd name="csX9" fmla="*/ 276163 w 362180"/>
                  <a:gd name="csY9" fmla="*/ 734756 h 882619"/>
                  <a:gd name="csX10" fmla="*/ 257898 w 362180"/>
                  <a:gd name="csY10" fmla="*/ 820163 h 882619"/>
                  <a:gd name="csX11" fmla="*/ 180259 w 362180"/>
                  <a:gd name="csY11" fmla="*/ 882615 h 882619"/>
                  <a:gd name="csX12" fmla="*/ 104301 w 362180"/>
                  <a:gd name="csY12" fmla="*/ 820413 h 882619"/>
                  <a:gd name="csX13" fmla="*/ 84382 w 362180"/>
                  <a:gd name="csY13" fmla="*/ 725724 h 882619"/>
                  <a:gd name="csX14" fmla="*/ 77029 w 362180"/>
                  <a:gd name="csY14" fmla="*/ 685461 h 882619"/>
                  <a:gd name="csX15" fmla="*/ 67904 w 362180"/>
                  <a:gd name="csY15" fmla="*/ 624961 h 882619"/>
                  <a:gd name="csX16" fmla="*/ 50683 w 362180"/>
                  <a:gd name="csY16" fmla="*/ 600744 h 882619"/>
                  <a:gd name="csX17" fmla="*/ 14852 w 362180"/>
                  <a:gd name="csY17" fmla="*/ 548018 h 882619"/>
                  <a:gd name="csX18" fmla="*/ 177 w 362180"/>
                  <a:gd name="csY18" fmla="*/ 337780 h 882619"/>
                  <a:gd name="csX19" fmla="*/ 26361 w 362180"/>
                  <a:gd name="csY19" fmla="*/ 273439 h 882619"/>
                  <a:gd name="csX20" fmla="*/ 53425 w 362180"/>
                  <a:gd name="csY20" fmla="*/ 259298 h 882619"/>
                  <a:gd name="csX21" fmla="*/ 80852 w 362180"/>
                  <a:gd name="csY21" fmla="*/ 252869 h 882619"/>
                  <a:gd name="csX22" fmla="*/ 111740 w 362180"/>
                  <a:gd name="csY22" fmla="*/ 265614 h 882619"/>
                  <a:gd name="csX23" fmla="*/ 154896 w 362180"/>
                  <a:gd name="csY23" fmla="*/ 322728 h 882619"/>
                  <a:gd name="csX24" fmla="*/ 207430 w 362180"/>
                  <a:gd name="csY24" fmla="*/ 322709 h 882619"/>
                  <a:gd name="csX25" fmla="*/ 250500 w 362180"/>
                  <a:gd name="csY25" fmla="*/ 265614 h 882619"/>
                  <a:gd name="csX26" fmla="*/ 281458 w 362180"/>
                  <a:gd name="csY26" fmla="*/ 252856 h 882619"/>
                  <a:gd name="csX27" fmla="*/ 181103 w 362180"/>
                  <a:gd name="csY27" fmla="*/ 0 h 882619"/>
                  <a:gd name="csX28" fmla="*/ 289058 w 362180"/>
                  <a:gd name="csY28" fmla="*/ 108046 h 882619"/>
                  <a:gd name="csX29" fmla="*/ 181103 w 362180"/>
                  <a:gd name="csY29" fmla="*/ 216092 h 882619"/>
                  <a:gd name="csX30" fmla="*/ 73148 w 362180"/>
                  <a:gd name="csY30" fmla="*/ 108046 h 882619"/>
                  <a:gd name="csX31" fmla="*/ 181103 w 362180"/>
                  <a:gd name="csY31" fmla="*/ 0 h 88261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</a:cxnLst>
                <a:rect l="l" t="t" r="r" b="b"/>
                <a:pathLst>
                  <a:path w="362180" h="882619">
                    <a:moveTo>
                      <a:pt x="281458" y="252856"/>
                    </a:moveTo>
                    <a:cubicBezTo>
                      <a:pt x="288833" y="253906"/>
                      <a:pt x="296149" y="255431"/>
                      <a:pt x="303385" y="257521"/>
                    </a:cubicBezTo>
                    <a:cubicBezTo>
                      <a:pt x="316210" y="261291"/>
                      <a:pt x="327726" y="266817"/>
                      <a:pt x="338049" y="275220"/>
                    </a:cubicBezTo>
                    <a:cubicBezTo>
                      <a:pt x="356491" y="290395"/>
                      <a:pt x="363389" y="312952"/>
                      <a:pt x="362010" y="336480"/>
                    </a:cubicBezTo>
                    <a:lnTo>
                      <a:pt x="356715" y="426799"/>
                    </a:lnTo>
                    <a:lnTo>
                      <a:pt x="347376" y="547695"/>
                    </a:lnTo>
                    <a:cubicBezTo>
                      <a:pt x="344548" y="571621"/>
                      <a:pt x="331613" y="589933"/>
                      <a:pt x="311808" y="600371"/>
                    </a:cubicBezTo>
                    <a:cubicBezTo>
                      <a:pt x="302338" y="605361"/>
                      <a:pt x="295978" y="614732"/>
                      <a:pt x="294555" y="625344"/>
                    </a:cubicBezTo>
                    <a:cubicBezTo>
                      <a:pt x="289633" y="662073"/>
                      <a:pt x="283978" y="698236"/>
                      <a:pt x="276166" y="734762"/>
                    </a:cubicBezTo>
                    <a:lnTo>
                      <a:pt x="276163" y="734756"/>
                    </a:lnTo>
                    <a:lnTo>
                      <a:pt x="257898" y="820163"/>
                    </a:lnTo>
                    <a:cubicBezTo>
                      <a:pt x="249994" y="857114"/>
                      <a:pt x="218091" y="883001"/>
                      <a:pt x="180259" y="882615"/>
                    </a:cubicBezTo>
                    <a:cubicBezTo>
                      <a:pt x="143178" y="882239"/>
                      <a:pt x="112433" y="856576"/>
                      <a:pt x="104301" y="820413"/>
                    </a:cubicBezTo>
                    <a:cubicBezTo>
                      <a:pt x="97217" y="788896"/>
                      <a:pt x="90208" y="757613"/>
                      <a:pt x="84382" y="725724"/>
                    </a:cubicBezTo>
                    <a:lnTo>
                      <a:pt x="77029" y="685461"/>
                    </a:lnTo>
                    <a:lnTo>
                      <a:pt x="67904" y="624961"/>
                    </a:lnTo>
                    <a:cubicBezTo>
                      <a:pt x="66342" y="614609"/>
                      <a:pt x="59909" y="605694"/>
                      <a:pt x="50683" y="600744"/>
                    </a:cubicBezTo>
                    <a:cubicBezTo>
                      <a:pt x="30960" y="590158"/>
                      <a:pt x="16983" y="571311"/>
                      <a:pt x="14852" y="548018"/>
                    </a:cubicBezTo>
                    <a:cubicBezTo>
                      <a:pt x="8441" y="477931"/>
                      <a:pt x="4105" y="408068"/>
                      <a:pt x="177" y="337780"/>
                    </a:cubicBezTo>
                    <a:cubicBezTo>
                      <a:pt x="-1250" y="312246"/>
                      <a:pt x="5828" y="289136"/>
                      <a:pt x="26361" y="273439"/>
                    </a:cubicBezTo>
                    <a:cubicBezTo>
                      <a:pt x="34632" y="267145"/>
                      <a:pt x="43525" y="262844"/>
                      <a:pt x="53425" y="259298"/>
                    </a:cubicBezTo>
                    <a:cubicBezTo>
                      <a:pt x="62395" y="256345"/>
                      <a:pt x="71529" y="254235"/>
                      <a:pt x="80852" y="252869"/>
                    </a:cubicBezTo>
                    <a:cubicBezTo>
                      <a:pt x="92691" y="251132"/>
                      <a:pt x="104526" y="256067"/>
                      <a:pt x="111740" y="265614"/>
                    </a:cubicBezTo>
                    <a:lnTo>
                      <a:pt x="154896" y="322728"/>
                    </a:lnTo>
                    <a:cubicBezTo>
                      <a:pt x="168072" y="340164"/>
                      <a:pt x="194266" y="340155"/>
                      <a:pt x="207430" y="322709"/>
                    </a:cubicBezTo>
                    <a:lnTo>
                      <a:pt x="250500" y="265614"/>
                    </a:lnTo>
                    <a:cubicBezTo>
                      <a:pt x="257724" y="256041"/>
                      <a:pt x="269581" y="251167"/>
                      <a:pt x="281458" y="252856"/>
                    </a:cubicBezTo>
                    <a:close/>
                    <a:moveTo>
                      <a:pt x="181103" y="0"/>
                    </a:moveTo>
                    <a:cubicBezTo>
                      <a:pt x="240725" y="0"/>
                      <a:pt x="289058" y="48374"/>
                      <a:pt x="289058" y="108046"/>
                    </a:cubicBezTo>
                    <a:cubicBezTo>
                      <a:pt x="289058" y="167718"/>
                      <a:pt x="240725" y="216092"/>
                      <a:pt x="181103" y="216092"/>
                    </a:cubicBezTo>
                    <a:cubicBezTo>
                      <a:pt x="121481" y="216092"/>
                      <a:pt x="73148" y="167718"/>
                      <a:pt x="73148" y="108046"/>
                    </a:cubicBezTo>
                    <a:cubicBezTo>
                      <a:pt x="73148" y="48374"/>
                      <a:pt x="121481" y="0"/>
                      <a:pt x="181103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</p:grp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53EC3B38-7BD4-CD1A-3B2F-4E3B409FD47B}"/>
                </a:ext>
              </a:extLst>
            </p:cNvPr>
            <p:cNvSpPr/>
            <p:nvPr/>
          </p:nvSpPr>
          <p:spPr>
            <a:xfrm>
              <a:off x="740217" y="2020096"/>
              <a:ext cx="1871999" cy="729434"/>
            </a:xfrm>
            <a:custGeom>
              <a:avLst/>
              <a:gdLst>
                <a:gd name="csX0" fmla="*/ 1871999 w 1871999"/>
                <a:gd name="csY0" fmla="*/ 217129 h 729434"/>
                <a:gd name="csX1" fmla="*/ 1871999 w 1871999"/>
                <a:gd name="csY1" fmla="*/ 493700 h 729434"/>
                <a:gd name="csX2" fmla="*/ 1854898 w 1871999"/>
                <a:gd name="csY2" fmla="*/ 478631 h 729434"/>
                <a:gd name="csX3" fmla="*/ 1845543 w 1871999"/>
                <a:gd name="csY3" fmla="*/ 452906 h 729434"/>
                <a:gd name="csX4" fmla="*/ 1833415 w 1871999"/>
                <a:gd name="csY4" fmla="*/ 279156 h 729434"/>
                <a:gd name="csX5" fmla="*/ 1855055 w 1871999"/>
                <a:gd name="csY5" fmla="*/ 225982 h 729434"/>
                <a:gd name="csX6" fmla="*/ 1699224 w 1871999"/>
                <a:gd name="csY6" fmla="*/ 208971 h 729434"/>
                <a:gd name="csX7" fmla="*/ 1717345 w 1871999"/>
                <a:gd name="csY7" fmla="*/ 212826 h 729434"/>
                <a:gd name="csX8" fmla="*/ 1745993 w 1871999"/>
                <a:gd name="csY8" fmla="*/ 227454 h 729434"/>
                <a:gd name="csX9" fmla="*/ 1765796 w 1871999"/>
                <a:gd name="csY9" fmla="*/ 278082 h 729434"/>
                <a:gd name="csX10" fmla="*/ 1761420 w 1871999"/>
                <a:gd name="csY10" fmla="*/ 352725 h 729434"/>
                <a:gd name="csX11" fmla="*/ 1753701 w 1871999"/>
                <a:gd name="csY11" fmla="*/ 452639 h 729434"/>
                <a:gd name="csX12" fmla="*/ 1724307 w 1871999"/>
                <a:gd name="csY12" fmla="*/ 496172 h 729434"/>
                <a:gd name="csX13" fmla="*/ 1710048 w 1871999"/>
                <a:gd name="csY13" fmla="*/ 516811 h 729434"/>
                <a:gd name="csX14" fmla="*/ 1694850 w 1871999"/>
                <a:gd name="csY14" fmla="*/ 607239 h 729434"/>
                <a:gd name="csX15" fmla="*/ 1694848 w 1871999"/>
                <a:gd name="csY15" fmla="*/ 607234 h 729434"/>
                <a:gd name="csX16" fmla="*/ 1679753 w 1871999"/>
                <a:gd name="csY16" fmla="*/ 677818 h 729434"/>
                <a:gd name="csX17" fmla="*/ 1615589 w 1871999"/>
                <a:gd name="csY17" fmla="*/ 729431 h 729434"/>
                <a:gd name="csX18" fmla="*/ 1552814 w 1871999"/>
                <a:gd name="csY18" fmla="*/ 678024 h 729434"/>
                <a:gd name="csX19" fmla="*/ 1536352 w 1871999"/>
                <a:gd name="csY19" fmla="*/ 599769 h 729434"/>
                <a:gd name="csX20" fmla="*/ 1530275 w 1871999"/>
                <a:gd name="csY20" fmla="*/ 566494 h 729434"/>
                <a:gd name="csX21" fmla="*/ 1522734 w 1871999"/>
                <a:gd name="csY21" fmla="*/ 516495 h 729434"/>
                <a:gd name="csX22" fmla="*/ 1508502 w 1871999"/>
                <a:gd name="csY22" fmla="*/ 496481 h 729434"/>
                <a:gd name="csX23" fmla="*/ 1478889 w 1871999"/>
                <a:gd name="csY23" fmla="*/ 452906 h 729434"/>
                <a:gd name="csX24" fmla="*/ 1466761 w 1871999"/>
                <a:gd name="csY24" fmla="*/ 279156 h 729434"/>
                <a:gd name="csX25" fmla="*/ 1488401 w 1871999"/>
                <a:gd name="csY25" fmla="*/ 225982 h 729434"/>
                <a:gd name="csX26" fmla="*/ 1510768 w 1871999"/>
                <a:gd name="csY26" fmla="*/ 214295 h 729434"/>
                <a:gd name="csX27" fmla="*/ 1533435 w 1871999"/>
                <a:gd name="csY27" fmla="*/ 208982 h 729434"/>
                <a:gd name="csX28" fmla="*/ 1558962 w 1871999"/>
                <a:gd name="csY28" fmla="*/ 219515 h 729434"/>
                <a:gd name="csX29" fmla="*/ 1594628 w 1871999"/>
                <a:gd name="csY29" fmla="*/ 266716 h 729434"/>
                <a:gd name="csX30" fmla="*/ 1638044 w 1871999"/>
                <a:gd name="csY30" fmla="*/ 266701 h 729434"/>
                <a:gd name="csX31" fmla="*/ 1673639 w 1871999"/>
                <a:gd name="csY31" fmla="*/ 219515 h 729434"/>
                <a:gd name="csX32" fmla="*/ 1699224 w 1871999"/>
                <a:gd name="csY32" fmla="*/ 208971 h 729434"/>
                <a:gd name="csX33" fmla="*/ 1332570 w 1871999"/>
                <a:gd name="csY33" fmla="*/ 208971 h 729434"/>
                <a:gd name="csX34" fmla="*/ 1350691 w 1871999"/>
                <a:gd name="csY34" fmla="*/ 212826 h 729434"/>
                <a:gd name="csX35" fmla="*/ 1379339 w 1871999"/>
                <a:gd name="csY35" fmla="*/ 227454 h 729434"/>
                <a:gd name="csX36" fmla="*/ 1399142 w 1871999"/>
                <a:gd name="csY36" fmla="*/ 278082 h 729434"/>
                <a:gd name="csX37" fmla="*/ 1394766 w 1871999"/>
                <a:gd name="csY37" fmla="*/ 352725 h 729434"/>
                <a:gd name="csX38" fmla="*/ 1387047 w 1871999"/>
                <a:gd name="csY38" fmla="*/ 452639 h 729434"/>
                <a:gd name="csX39" fmla="*/ 1357653 w 1871999"/>
                <a:gd name="csY39" fmla="*/ 496172 h 729434"/>
                <a:gd name="csX40" fmla="*/ 1343394 w 1871999"/>
                <a:gd name="csY40" fmla="*/ 516811 h 729434"/>
                <a:gd name="csX41" fmla="*/ 1328196 w 1871999"/>
                <a:gd name="csY41" fmla="*/ 607239 h 729434"/>
                <a:gd name="csX42" fmla="*/ 1328194 w 1871999"/>
                <a:gd name="csY42" fmla="*/ 607234 h 729434"/>
                <a:gd name="csX43" fmla="*/ 1313099 w 1871999"/>
                <a:gd name="csY43" fmla="*/ 677818 h 729434"/>
                <a:gd name="csX44" fmla="*/ 1248935 w 1871999"/>
                <a:gd name="csY44" fmla="*/ 729431 h 729434"/>
                <a:gd name="csX45" fmla="*/ 1186160 w 1871999"/>
                <a:gd name="csY45" fmla="*/ 678024 h 729434"/>
                <a:gd name="csX46" fmla="*/ 1169698 w 1871999"/>
                <a:gd name="csY46" fmla="*/ 599769 h 729434"/>
                <a:gd name="csX47" fmla="*/ 1163621 w 1871999"/>
                <a:gd name="csY47" fmla="*/ 566494 h 729434"/>
                <a:gd name="csX48" fmla="*/ 1156080 w 1871999"/>
                <a:gd name="csY48" fmla="*/ 516495 h 729434"/>
                <a:gd name="csX49" fmla="*/ 1141848 w 1871999"/>
                <a:gd name="csY49" fmla="*/ 496481 h 729434"/>
                <a:gd name="csX50" fmla="*/ 1112236 w 1871999"/>
                <a:gd name="csY50" fmla="*/ 452906 h 729434"/>
                <a:gd name="csX51" fmla="*/ 1100107 w 1871999"/>
                <a:gd name="csY51" fmla="*/ 279156 h 729434"/>
                <a:gd name="csX52" fmla="*/ 1121747 w 1871999"/>
                <a:gd name="csY52" fmla="*/ 225982 h 729434"/>
                <a:gd name="csX53" fmla="*/ 1144114 w 1871999"/>
                <a:gd name="csY53" fmla="*/ 214295 h 729434"/>
                <a:gd name="csX54" fmla="*/ 1166781 w 1871999"/>
                <a:gd name="csY54" fmla="*/ 208982 h 729434"/>
                <a:gd name="csX55" fmla="*/ 1192308 w 1871999"/>
                <a:gd name="csY55" fmla="*/ 219515 h 729434"/>
                <a:gd name="csX56" fmla="*/ 1227974 w 1871999"/>
                <a:gd name="csY56" fmla="*/ 266716 h 729434"/>
                <a:gd name="csX57" fmla="*/ 1271390 w 1871999"/>
                <a:gd name="csY57" fmla="*/ 266701 h 729434"/>
                <a:gd name="csX58" fmla="*/ 1306985 w 1871999"/>
                <a:gd name="csY58" fmla="*/ 219515 h 729434"/>
                <a:gd name="csX59" fmla="*/ 1332570 w 1871999"/>
                <a:gd name="csY59" fmla="*/ 208971 h 729434"/>
                <a:gd name="csX60" fmla="*/ 965917 w 1871999"/>
                <a:gd name="csY60" fmla="*/ 208971 h 729434"/>
                <a:gd name="csX61" fmla="*/ 984038 w 1871999"/>
                <a:gd name="csY61" fmla="*/ 212826 h 729434"/>
                <a:gd name="csX62" fmla="*/ 1012686 w 1871999"/>
                <a:gd name="csY62" fmla="*/ 227454 h 729434"/>
                <a:gd name="csX63" fmla="*/ 1032489 w 1871999"/>
                <a:gd name="csY63" fmla="*/ 278082 h 729434"/>
                <a:gd name="csX64" fmla="*/ 1028113 w 1871999"/>
                <a:gd name="csY64" fmla="*/ 352725 h 729434"/>
                <a:gd name="csX65" fmla="*/ 1020395 w 1871999"/>
                <a:gd name="csY65" fmla="*/ 452639 h 729434"/>
                <a:gd name="csX66" fmla="*/ 991000 w 1871999"/>
                <a:gd name="csY66" fmla="*/ 496172 h 729434"/>
                <a:gd name="csX67" fmla="*/ 976741 w 1871999"/>
                <a:gd name="csY67" fmla="*/ 516811 h 729434"/>
                <a:gd name="csX68" fmla="*/ 961543 w 1871999"/>
                <a:gd name="csY68" fmla="*/ 607239 h 729434"/>
                <a:gd name="csX69" fmla="*/ 961541 w 1871999"/>
                <a:gd name="csY69" fmla="*/ 607234 h 729434"/>
                <a:gd name="csX70" fmla="*/ 946446 w 1871999"/>
                <a:gd name="csY70" fmla="*/ 677818 h 729434"/>
                <a:gd name="csX71" fmla="*/ 882282 w 1871999"/>
                <a:gd name="csY71" fmla="*/ 729431 h 729434"/>
                <a:gd name="csX72" fmla="*/ 819507 w 1871999"/>
                <a:gd name="csY72" fmla="*/ 678024 h 729434"/>
                <a:gd name="csX73" fmla="*/ 803045 w 1871999"/>
                <a:gd name="csY73" fmla="*/ 599769 h 729434"/>
                <a:gd name="csX74" fmla="*/ 796968 w 1871999"/>
                <a:gd name="csY74" fmla="*/ 566494 h 729434"/>
                <a:gd name="csX75" fmla="*/ 789427 w 1871999"/>
                <a:gd name="csY75" fmla="*/ 516495 h 729434"/>
                <a:gd name="csX76" fmla="*/ 775195 w 1871999"/>
                <a:gd name="csY76" fmla="*/ 496481 h 729434"/>
                <a:gd name="csX77" fmla="*/ 745582 w 1871999"/>
                <a:gd name="csY77" fmla="*/ 452906 h 729434"/>
                <a:gd name="csX78" fmla="*/ 733454 w 1871999"/>
                <a:gd name="csY78" fmla="*/ 279156 h 729434"/>
                <a:gd name="csX79" fmla="*/ 755094 w 1871999"/>
                <a:gd name="csY79" fmla="*/ 225982 h 729434"/>
                <a:gd name="csX80" fmla="*/ 777461 w 1871999"/>
                <a:gd name="csY80" fmla="*/ 214295 h 729434"/>
                <a:gd name="csX81" fmla="*/ 800128 w 1871999"/>
                <a:gd name="csY81" fmla="*/ 208982 h 729434"/>
                <a:gd name="csX82" fmla="*/ 825655 w 1871999"/>
                <a:gd name="csY82" fmla="*/ 219515 h 729434"/>
                <a:gd name="csX83" fmla="*/ 861321 w 1871999"/>
                <a:gd name="csY83" fmla="*/ 266716 h 729434"/>
                <a:gd name="csX84" fmla="*/ 904737 w 1871999"/>
                <a:gd name="csY84" fmla="*/ 266701 h 729434"/>
                <a:gd name="csX85" fmla="*/ 940332 w 1871999"/>
                <a:gd name="csY85" fmla="*/ 219515 h 729434"/>
                <a:gd name="csX86" fmla="*/ 965917 w 1871999"/>
                <a:gd name="csY86" fmla="*/ 208971 h 729434"/>
                <a:gd name="csX87" fmla="*/ 599263 w 1871999"/>
                <a:gd name="csY87" fmla="*/ 208971 h 729434"/>
                <a:gd name="csX88" fmla="*/ 617384 w 1871999"/>
                <a:gd name="csY88" fmla="*/ 212826 h 729434"/>
                <a:gd name="csX89" fmla="*/ 646032 w 1871999"/>
                <a:gd name="csY89" fmla="*/ 227454 h 729434"/>
                <a:gd name="csX90" fmla="*/ 665835 w 1871999"/>
                <a:gd name="csY90" fmla="*/ 278082 h 729434"/>
                <a:gd name="csX91" fmla="*/ 661459 w 1871999"/>
                <a:gd name="csY91" fmla="*/ 352725 h 729434"/>
                <a:gd name="csX92" fmla="*/ 653740 w 1871999"/>
                <a:gd name="csY92" fmla="*/ 452639 h 729434"/>
                <a:gd name="csX93" fmla="*/ 624346 w 1871999"/>
                <a:gd name="csY93" fmla="*/ 496172 h 729434"/>
                <a:gd name="csX94" fmla="*/ 610087 w 1871999"/>
                <a:gd name="csY94" fmla="*/ 516811 h 729434"/>
                <a:gd name="csX95" fmla="*/ 594890 w 1871999"/>
                <a:gd name="csY95" fmla="*/ 607239 h 729434"/>
                <a:gd name="csX96" fmla="*/ 594887 w 1871999"/>
                <a:gd name="csY96" fmla="*/ 607234 h 729434"/>
                <a:gd name="csX97" fmla="*/ 579792 w 1871999"/>
                <a:gd name="csY97" fmla="*/ 677818 h 729434"/>
                <a:gd name="csX98" fmla="*/ 515628 w 1871999"/>
                <a:gd name="csY98" fmla="*/ 729431 h 729434"/>
                <a:gd name="csX99" fmla="*/ 452853 w 1871999"/>
                <a:gd name="csY99" fmla="*/ 678024 h 729434"/>
                <a:gd name="csX100" fmla="*/ 436391 w 1871999"/>
                <a:gd name="csY100" fmla="*/ 599769 h 729434"/>
                <a:gd name="csX101" fmla="*/ 430314 w 1871999"/>
                <a:gd name="csY101" fmla="*/ 566494 h 729434"/>
                <a:gd name="csX102" fmla="*/ 422773 w 1871999"/>
                <a:gd name="csY102" fmla="*/ 516495 h 729434"/>
                <a:gd name="csX103" fmla="*/ 408541 w 1871999"/>
                <a:gd name="csY103" fmla="*/ 496481 h 729434"/>
                <a:gd name="csX104" fmla="*/ 378928 w 1871999"/>
                <a:gd name="csY104" fmla="*/ 452906 h 729434"/>
                <a:gd name="csX105" fmla="*/ 366800 w 1871999"/>
                <a:gd name="csY105" fmla="*/ 279156 h 729434"/>
                <a:gd name="csX106" fmla="*/ 388440 w 1871999"/>
                <a:gd name="csY106" fmla="*/ 225982 h 729434"/>
                <a:gd name="csX107" fmla="*/ 410807 w 1871999"/>
                <a:gd name="csY107" fmla="*/ 214295 h 729434"/>
                <a:gd name="csX108" fmla="*/ 433474 w 1871999"/>
                <a:gd name="csY108" fmla="*/ 208982 h 729434"/>
                <a:gd name="csX109" fmla="*/ 459001 w 1871999"/>
                <a:gd name="csY109" fmla="*/ 219515 h 729434"/>
                <a:gd name="csX110" fmla="*/ 494667 w 1871999"/>
                <a:gd name="csY110" fmla="*/ 266716 h 729434"/>
                <a:gd name="csX111" fmla="*/ 538083 w 1871999"/>
                <a:gd name="csY111" fmla="*/ 266701 h 729434"/>
                <a:gd name="csX112" fmla="*/ 573678 w 1871999"/>
                <a:gd name="csY112" fmla="*/ 219515 h 729434"/>
                <a:gd name="csX113" fmla="*/ 599263 w 1871999"/>
                <a:gd name="csY113" fmla="*/ 208971 h 729434"/>
                <a:gd name="csX114" fmla="*/ 232609 w 1871999"/>
                <a:gd name="csY114" fmla="*/ 208971 h 729434"/>
                <a:gd name="csX115" fmla="*/ 250731 w 1871999"/>
                <a:gd name="csY115" fmla="*/ 212826 h 729434"/>
                <a:gd name="csX116" fmla="*/ 279378 w 1871999"/>
                <a:gd name="csY116" fmla="*/ 227454 h 729434"/>
                <a:gd name="csX117" fmla="*/ 299181 w 1871999"/>
                <a:gd name="csY117" fmla="*/ 278082 h 729434"/>
                <a:gd name="csX118" fmla="*/ 294805 w 1871999"/>
                <a:gd name="csY118" fmla="*/ 352725 h 729434"/>
                <a:gd name="csX119" fmla="*/ 287087 w 1871999"/>
                <a:gd name="csY119" fmla="*/ 452639 h 729434"/>
                <a:gd name="csX120" fmla="*/ 257692 w 1871999"/>
                <a:gd name="csY120" fmla="*/ 496172 h 729434"/>
                <a:gd name="csX121" fmla="*/ 243433 w 1871999"/>
                <a:gd name="csY121" fmla="*/ 516811 h 729434"/>
                <a:gd name="csX122" fmla="*/ 228236 w 1871999"/>
                <a:gd name="csY122" fmla="*/ 607239 h 729434"/>
                <a:gd name="csX123" fmla="*/ 228233 w 1871999"/>
                <a:gd name="csY123" fmla="*/ 607234 h 729434"/>
                <a:gd name="csX124" fmla="*/ 213138 w 1871999"/>
                <a:gd name="csY124" fmla="*/ 677818 h 729434"/>
                <a:gd name="csX125" fmla="*/ 148974 w 1871999"/>
                <a:gd name="csY125" fmla="*/ 729431 h 729434"/>
                <a:gd name="csX126" fmla="*/ 86199 w 1871999"/>
                <a:gd name="csY126" fmla="*/ 678024 h 729434"/>
                <a:gd name="csX127" fmla="*/ 69737 w 1871999"/>
                <a:gd name="csY127" fmla="*/ 599769 h 729434"/>
                <a:gd name="csX128" fmla="*/ 63660 w 1871999"/>
                <a:gd name="csY128" fmla="*/ 566494 h 729434"/>
                <a:gd name="csX129" fmla="*/ 56119 w 1871999"/>
                <a:gd name="csY129" fmla="*/ 516495 h 729434"/>
                <a:gd name="csX130" fmla="*/ 41887 w 1871999"/>
                <a:gd name="csY130" fmla="*/ 496481 h 729434"/>
                <a:gd name="csX131" fmla="*/ 12275 w 1871999"/>
                <a:gd name="csY131" fmla="*/ 452906 h 729434"/>
                <a:gd name="csX132" fmla="*/ 147 w 1871999"/>
                <a:gd name="csY132" fmla="*/ 279156 h 729434"/>
                <a:gd name="csX133" fmla="*/ 21786 w 1871999"/>
                <a:gd name="csY133" fmla="*/ 225982 h 729434"/>
                <a:gd name="csX134" fmla="*/ 44153 w 1871999"/>
                <a:gd name="csY134" fmla="*/ 214295 h 729434"/>
                <a:gd name="csX135" fmla="*/ 66820 w 1871999"/>
                <a:gd name="csY135" fmla="*/ 208982 h 729434"/>
                <a:gd name="csX136" fmla="*/ 92347 w 1871999"/>
                <a:gd name="csY136" fmla="*/ 219515 h 729434"/>
                <a:gd name="csX137" fmla="*/ 128013 w 1871999"/>
                <a:gd name="csY137" fmla="*/ 266716 h 729434"/>
                <a:gd name="csX138" fmla="*/ 171429 w 1871999"/>
                <a:gd name="csY138" fmla="*/ 266701 h 729434"/>
                <a:gd name="csX139" fmla="*/ 207024 w 1871999"/>
                <a:gd name="csY139" fmla="*/ 219515 h 729434"/>
                <a:gd name="csX140" fmla="*/ 232609 w 1871999"/>
                <a:gd name="csY140" fmla="*/ 208971 h 729434"/>
                <a:gd name="csX141" fmla="*/ 1616286 w 1871999"/>
                <a:gd name="csY141" fmla="*/ 0 h 729434"/>
                <a:gd name="csX142" fmla="*/ 1705505 w 1871999"/>
                <a:gd name="csY142" fmla="*/ 89294 h 729434"/>
                <a:gd name="csX143" fmla="*/ 1616286 w 1871999"/>
                <a:gd name="csY143" fmla="*/ 178588 h 729434"/>
                <a:gd name="csX144" fmla="*/ 1527068 w 1871999"/>
                <a:gd name="csY144" fmla="*/ 89294 h 729434"/>
                <a:gd name="csX145" fmla="*/ 1616286 w 1871999"/>
                <a:gd name="csY145" fmla="*/ 0 h 729434"/>
                <a:gd name="csX146" fmla="*/ 1249632 w 1871999"/>
                <a:gd name="csY146" fmla="*/ 0 h 729434"/>
                <a:gd name="csX147" fmla="*/ 1338851 w 1871999"/>
                <a:gd name="csY147" fmla="*/ 89294 h 729434"/>
                <a:gd name="csX148" fmla="*/ 1249632 w 1871999"/>
                <a:gd name="csY148" fmla="*/ 178588 h 729434"/>
                <a:gd name="csX149" fmla="*/ 1160414 w 1871999"/>
                <a:gd name="csY149" fmla="*/ 89294 h 729434"/>
                <a:gd name="csX150" fmla="*/ 1249632 w 1871999"/>
                <a:gd name="csY150" fmla="*/ 0 h 729434"/>
                <a:gd name="csX151" fmla="*/ 882979 w 1871999"/>
                <a:gd name="csY151" fmla="*/ 0 h 729434"/>
                <a:gd name="csX152" fmla="*/ 972198 w 1871999"/>
                <a:gd name="csY152" fmla="*/ 89294 h 729434"/>
                <a:gd name="csX153" fmla="*/ 882979 w 1871999"/>
                <a:gd name="csY153" fmla="*/ 178588 h 729434"/>
                <a:gd name="csX154" fmla="*/ 793761 w 1871999"/>
                <a:gd name="csY154" fmla="*/ 89294 h 729434"/>
                <a:gd name="csX155" fmla="*/ 882979 w 1871999"/>
                <a:gd name="csY155" fmla="*/ 0 h 729434"/>
                <a:gd name="csX156" fmla="*/ 516325 w 1871999"/>
                <a:gd name="csY156" fmla="*/ 0 h 729434"/>
                <a:gd name="csX157" fmla="*/ 605544 w 1871999"/>
                <a:gd name="csY157" fmla="*/ 89294 h 729434"/>
                <a:gd name="csX158" fmla="*/ 516325 w 1871999"/>
                <a:gd name="csY158" fmla="*/ 178588 h 729434"/>
                <a:gd name="csX159" fmla="*/ 427107 w 1871999"/>
                <a:gd name="csY159" fmla="*/ 89294 h 729434"/>
                <a:gd name="csX160" fmla="*/ 516325 w 1871999"/>
                <a:gd name="csY160" fmla="*/ 0 h 729434"/>
                <a:gd name="csX161" fmla="*/ 149671 w 1871999"/>
                <a:gd name="csY161" fmla="*/ 0 h 729434"/>
                <a:gd name="csX162" fmla="*/ 238890 w 1871999"/>
                <a:gd name="csY162" fmla="*/ 89294 h 729434"/>
                <a:gd name="csX163" fmla="*/ 149671 w 1871999"/>
                <a:gd name="csY163" fmla="*/ 178588 h 729434"/>
                <a:gd name="csX164" fmla="*/ 60453 w 1871999"/>
                <a:gd name="csY164" fmla="*/ 89294 h 729434"/>
                <a:gd name="csX165" fmla="*/ 149671 w 1871999"/>
                <a:gd name="csY165" fmla="*/ 0 h 7294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</a:cxnLst>
              <a:rect l="l" t="t" r="r" b="b"/>
              <a:pathLst>
                <a:path w="1871999" h="729434">
                  <a:moveTo>
                    <a:pt x="1871999" y="217129"/>
                  </a:moveTo>
                  <a:lnTo>
                    <a:pt x="1871999" y="493700"/>
                  </a:lnTo>
                  <a:lnTo>
                    <a:pt x="1854898" y="478631"/>
                  </a:lnTo>
                  <a:cubicBezTo>
                    <a:pt x="1849752" y="471238"/>
                    <a:pt x="1846424" y="462531"/>
                    <a:pt x="1845543" y="452906"/>
                  </a:cubicBezTo>
                  <a:cubicBezTo>
                    <a:pt x="1840245" y="394983"/>
                    <a:pt x="1836662" y="337245"/>
                    <a:pt x="1833415" y="279156"/>
                  </a:cubicBezTo>
                  <a:cubicBezTo>
                    <a:pt x="1832236" y="258053"/>
                    <a:pt x="1838086" y="238954"/>
                    <a:pt x="1855055" y="225982"/>
                  </a:cubicBezTo>
                  <a:close/>
                  <a:moveTo>
                    <a:pt x="1699224" y="208971"/>
                  </a:moveTo>
                  <a:cubicBezTo>
                    <a:pt x="1705319" y="209839"/>
                    <a:pt x="1711365" y="211099"/>
                    <a:pt x="1717345" y="212826"/>
                  </a:cubicBezTo>
                  <a:cubicBezTo>
                    <a:pt x="1727945" y="215942"/>
                    <a:pt x="1737462" y="220509"/>
                    <a:pt x="1745993" y="227454"/>
                  </a:cubicBezTo>
                  <a:cubicBezTo>
                    <a:pt x="1761235" y="239995"/>
                    <a:pt x="1766935" y="258637"/>
                    <a:pt x="1765796" y="278082"/>
                  </a:cubicBezTo>
                  <a:lnTo>
                    <a:pt x="1761420" y="352725"/>
                  </a:lnTo>
                  <a:lnTo>
                    <a:pt x="1753701" y="452639"/>
                  </a:lnTo>
                  <a:cubicBezTo>
                    <a:pt x="1751364" y="472412"/>
                    <a:pt x="1740674" y="487546"/>
                    <a:pt x="1724307" y="496172"/>
                  </a:cubicBezTo>
                  <a:cubicBezTo>
                    <a:pt x="1716480" y="500296"/>
                    <a:pt x="1711224" y="508041"/>
                    <a:pt x="1710048" y="516811"/>
                  </a:cubicBezTo>
                  <a:cubicBezTo>
                    <a:pt x="1705980" y="547165"/>
                    <a:pt x="1701307" y="577052"/>
                    <a:pt x="1694850" y="607239"/>
                  </a:cubicBezTo>
                  <a:lnTo>
                    <a:pt x="1694848" y="607234"/>
                  </a:lnTo>
                  <a:lnTo>
                    <a:pt x="1679753" y="677818"/>
                  </a:lnTo>
                  <a:cubicBezTo>
                    <a:pt x="1673221" y="708356"/>
                    <a:pt x="1646855" y="729750"/>
                    <a:pt x="1615589" y="729431"/>
                  </a:cubicBezTo>
                  <a:cubicBezTo>
                    <a:pt x="1584944" y="729120"/>
                    <a:pt x="1559535" y="707911"/>
                    <a:pt x="1552814" y="678024"/>
                  </a:cubicBezTo>
                  <a:cubicBezTo>
                    <a:pt x="1546959" y="651977"/>
                    <a:pt x="1541167" y="626124"/>
                    <a:pt x="1536352" y="599769"/>
                  </a:cubicBezTo>
                  <a:lnTo>
                    <a:pt x="1530275" y="566494"/>
                  </a:lnTo>
                  <a:lnTo>
                    <a:pt x="1522734" y="516495"/>
                  </a:lnTo>
                  <a:cubicBezTo>
                    <a:pt x="1521443" y="507939"/>
                    <a:pt x="1516126" y="500571"/>
                    <a:pt x="1508502" y="496481"/>
                  </a:cubicBezTo>
                  <a:cubicBezTo>
                    <a:pt x="1492202" y="487732"/>
                    <a:pt x="1480651" y="472156"/>
                    <a:pt x="1478889" y="452906"/>
                  </a:cubicBezTo>
                  <a:cubicBezTo>
                    <a:pt x="1473591" y="394983"/>
                    <a:pt x="1470008" y="337245"/>
                    <a:pt x="1466761" y="279156"/>
                  </a:cubicBezTo>
                  <a:cubicBezTo>
                    <a:pt x="1465582" y="258053"/>
                    <a:pt x="1471432" y="238954"/>
                    <a:pt x="1488401" y="225982"/>
                  </a:cubicBezTo>
                  <a:cubicBezTo>
                    <a:pt x="1495236" y="220780"/>
                    <a:pt x="1502586" y="217226"/>
                    <a:pt x="1510768" y="214295"/>
                  </a:cubicBezTo>
                  <a:cubicBezTo>
                    <a:pt x="1518181" y="211855"/>
                    <a:pt x="1525730" y="210111"/>
                    <a:pt x="1533435" y="208982"/>
                  </a:cubicBezTo>
                  <a:cubicBezTo>
                    <a:pt x="1543219" y="207546"/>
                    <a:pt x="1553000" y="211625"/>
                    <a:pt x="1558962" y="219515"/>
                  </a:cubicBezTo>
                  <a:lnTo>
                    <a:pt x="1594628" y="266716"/>
                  </a:lnTo>
                  <a:cubicBezTo>
                    <a:pt x="1605517" y="281126"/>
                    <a:pt x="1627165" y="281119"/>
                    <a:pt x="1638044" y="266701"/>
                  </a:cubicBezTo>
                  <a:lnTo>
                    <a:pt x="1673639" y="219515"/>
                  </a:lnTo>
                  <a:cubicBezTo>
                    <a:pt x="1679609" y="211603"/>
                    <a:pt x="1689408" y="207575"/>
                    <a:pt x="1699224" y="208971"/>
                  </a:cubicBezTo>
                  <a:close/>
                  <a:moveTo>
                    <a:pt x="1332570" y="208971"/>
                  </a:moveTo>
                  <a:cubicBezTo>
                    <a:pt x="1338665" y="209839"/>
                    <a:pt x="1344711" y="211099"/>
                    <a:pt x="1350691" y="212826"/>
                  </a:cubicBezTo>
                  <a:cubicBezTo>
                    <a:pt x="1361291" y="215942"/>
                    <a:pt x="1370808" y="220509"/>
                    <a:pt x="1379339" y="227454"/>
                  </a:cubicBezTo>
                  <a:cubicBezTo>
                    <a:pt x="1394581" y="239995"/>
                    <a:pt x="1400281" y="258637"/>
                    <a:pt x="1399142" y="278082"/>
                  </a:cubicBezTo>
                  <a:lnTo>
                    <a:pt x="1394766" y="352725"/>
                  </a:lnTo>
                  <a:lnTo>
                    <a:pt x="1387047" y="452639"/>
                  </a:lnTo>
                  <a:cubicBezTo>
                    <a:pt x="1384710" y="472412"/>
                    <a:pt x="1374020" y="487546"/>
                    <a:pt x="1357653" y="496172"/>
                  </a:cubicBezTo>
                  <a:cubicBezTo>
                    <a:pt x="1349826" y="500296"/>
                    <a:pt x="1344570" y="508041"/>
                    <a:pt x="1343394" y="516811"/>
                  </a:cubicBezTo>
                  <a:cubicBezTo>
                    <a:pt x="1339326" y="547165"/>
                    <a:pt x="1334653" y="577052"/>
                    <a:pt x="1328196" y="607239"/>
                  </a:cubicBezTo>
                  <a:lnTo>
                    <a:pt x="1328194" y="607234"/>
                  </a:lnTo>
                  <a:lnTo>
                    <a:pt x="1313099" y="677818"/>
                  </a:lnTo>
                  <a:cubicBezTo>
                    <a:pt x="1306567" y="708356"/>
                    <a:pt x="1280201" y="729750"/>
                    <a:pt x="1248935" y="729431"/>
                  </a:cubicBezTo>
                  <a:cubicBezTo>
                    <a:pt x="1218289" y="729120"/>
                    <a:pt x="1192881" y="707911"/>
                    <a:pt x="1186160" y="678024"/>
                  </a:cubicBezTo>
                  <a:cubicBezTo>
                    <a:pt x="1180306" y="651977"/>
                    <a:pt x="1174513" y="626124"/>
                    <a:pt x="1169698" y="599769"/>
                  </a:cubicBezTo>
                  <a:lnTo>
                    <a:pt x="1163621" y="566494"/>
                  </a:lnTo>
                  <a:lnTo>
                    <a:pt x="1156080" y="516495"/>
                  </a:lnTo>
                  <a:cubicBezTo>
                    <a:pt x="1154789" y="507939"/>
                    <a:pt x="1149472" y="500571"/>
                    <a:pt x="1141848" y="496481"/>
                  </a:cubicBezTo>
                  <a:cubicBezTo>
                    <a:pt x="1125548" y="487732"/>
                    <a:pt x="1113997" y="472156"/>
                    <a:pt x="1112236" y="452906"/>
                  </a:cubicBezTo>
                  <a:cubicBezTo>
                    <a:pt x="1106937" y="394983"/>
                    <a:pt x="1103354" y="337245"/>
                    <a:pt x="1100107" y="279156"/>
                  </a:cubicBezTo>
                  <a:cubicBezTo>
                    <a:pt x="1098928" y="258053"/>
                    <a:pt x="1104778" y="238954"/>
                    <a:pt x="1121747" y="225982"/>
                  </a:cubicBezTo>
                  <a:cubicBezTo>
                    <a:pt x="1128583" y="220780"/>
                    <a:pt x="1135932" y="217226"/>
                    <a:pt x="1144114" y="214295"/>
                  </a:cubicBezTo>
                  <a:cubicBezTo>
                    <a:pt x="1151527" y="211855"/>
                    <a:pt x="1159076" y="210111"/>
                    <a:pt x="1166781" y="208982"/>
                  </a:cubicBezTo>
                  <a:cubicBezTo>
                    <a:pt x="1176565" y="207546"/>
                    <a:pt x="1186346" y="211625"/>
                    <a:pt x="1192308" y="219515"/>
                  </a:cubicBezTo>
                  <a:lnTo>
                    <a:pt x="1227974" y="266716"/>
                  </a:lnTo>
                  <a:cubicBezTo>
                    <a:pt x="1238863" y="281126"/>
                    <a:pt x="1260511" y="281119"/>
                    <a:pt x="1271390" y="266701"/>
                  </a:cubicBezTo>
                  <a:lnTo>
                    <a:pt x="1306985" y="219515"/>
                  </a:lnTo>
                  <a:cubicBezTo>
                    <a:pt x="1312955" y="211603"/>
                    <a:pt x="1322755" y="207575"/>
                    <a:pt x="1332570" y="208971"/>
                  </a:cubicBezTo>
                  <a:close/>
                  <a:moveTo>
                    <a:pt x="965917" y="208971"/>
                  </a:moveTo>
                  <a:cubicBezTo>
                    <a:pt x="972012" y="209839"/>
                    <a:pt x="978058" y="211099"/>
                    <a:pt x="984038" y="212826"/>
                  </a:cubicBezTo>
                  <a:cubicBezTo>
                    <a:pt x="994638" y="215942"/>
                    <a:pt x="1004155" y="220509"/>
                    <a:pt x="1012686" y="227454"/>
                  </a:cubicBezTo>
                  <a:cubicBezTo>
                    <a:pt x="1027928" y="239995"/>
                    <a:pt x="1033628" y="258637"/>
                    <a:pt x="1032489" y="278082"/>
                  </a:cubicBezTo>
                  <a:lnTo>
                    <a:pt x="1028113" y="352725"/>
                  </a:lnTo>
                  <a:lnTo>
                    <a:pt x="1020395" y="452639"/>
                  </a:lnTo>
                  <a:cubicBezTo>
                    <a:pt x="1018057" y="472412"/>
                    <a:pt x="1007367" y="487546"/>
                    <a:pt x="991000" y="496172"/>
                  </a:cubicBezTo>
                  <a:cubicBezTo>
                    <a:pt x="983173" y="500296"/>
                    <a:pt x="977917" y="508041"/>
                    <a:pt x="976741" y="516811"/>
                  </a:cubicBezTo>
                  <a:cubicBezTo>
                    <a:pt x="972673" y="547165"/>
                    <a:pt x="968000" y="577052"/>
                    <a:pt x="961543" y="607239"/>
                  </a:cubicBezTo>
                  <a:lnTo>
                    <a:pt x="961541" y="607234"/>
                  </a:lnTo>
                  <a:lnTo>
                    <a:pt x="946446" y="677818"/>
                  </a:lnTo>
                  <a:cubicBezTo>
                    <a:pt x="939914" y="708356"/>
                    <a:pt x="913548" y="729750"/>
                    <a:pt x="882282" y="729431"/>
                  </a:cubicBezTo>
                  <a:cubicBezTo>
                    <a:pt x="851637" y="729120"/>
                    <a:pt x="826228" y="707911"/>
                    <a:pt x="819507" y="678024"/>
                  </a:cubicBezTo>
                  <a:cubicBezTo>
                    <a:pt x="813652" y="651977"/>
                    <a:pt x="807860" y="626124"/>
                    <a:pt x="803045" y="599769"/>
                  </a:cubicBezTo>
                  <a:lnTo>
                    <a:pt x="796968" y="566494"/>
                  </a:lnTo>
                  <a:lnTo>
                    <a:pt x="789427" y="516495"/>
                  </a:lnTo>
                  <a:cubicBezTo>
                    <a:pt x="788136" y="507939"/>
                    <a:pt x="782820" y="500571"/>
                    <a:pt x="775195" y="496481"/>
                  </a:cubicBezTo>
                  <a:cubicBezTo>
                    <a:pt x="758895" y="487732"/>
                    <a:pt x="747344" y="472156"/>
                    <a:pt x="745582" y="452906"/>
                  </a:cubicBezTo>
                  <a:cubicBezTo>
                    <a:pt x="740284" y="394983"/>
                    <a:pt x="736701" y="337245"/>
                    <a:pt x="733454" y="279156"/>
                  </a:cubicBezTo>
                  <a:cubicBezTo>
                    <a:pt x="732275" y="258053"/>
                    <a:pt x="738125" y="238954"/>
                    <a:pt x="755094" y="225982"/>
                  </a:cubicBezTo>
                  <a:cubicBezTo>
                    <a:pt x="761929" y="220780"/>
                    <a:pt x="769279" y="217226"/>
                    <a:pt x="777461" y="214295"/>
                  </a:cubicBezTo>
                  <a:cubicBezTo>
                    <a:pt x="784874" y="211855"/>
                    <a:pt x="792423" y="210111"/>
                    <a:pt x="800128" y="208982"/>
                  </a:cubicBezTo>
                  <a:cubicBezTo>
                    <a:pt x="809912" y="207546"/>
                    <a:pt x="819693" y="211625"/>
                    <a:pt x="825655" y="219515"/>
                  </a:cubicBezTo>
                  <a:lnTo>
                    <a:pt x="861321" y="266716"/>
                  </a:lnTo>
                  <a:cubicBezTo>
                    <a:pt x="872210" y="281126"/>
                    <a:pt x="893858" y="281119"/>
                    <a:pt x="904737" y="266701"/>
                  </a:cubicBezTo>
                  <a:lnTo>
                    <a:pt x="940332" y="219515"/>
                  </a:lnTo>
                  <a:cubicBezTo>
                    <a:pt x="946302" y="211603"/>
                    <a:pt x="956101" y="207575"/>
                    <a:pt x="965917" y="208971"/>
                  </a:cubicBezTo>
                  <a:close/>
                  <a:moveTo>
                    <a:pt x="599263" y="208971"/>
                  </a:moveTo>
                  <a:cubicBezTo>
                    <a:pt x="605358" y="209839"/>
                    <a:pt x="611404" y="211099"/>
                    <a:pt x="617384" y="212826"/>
                  </a:cubicBezTo>
                  <a:cubicBezTo>
                    <a:pt x="627984" y="215942"/>
                    <a:pt x="637501" y="220509"/>
                    <a:pt x="646032" y="227454"/>
                  </a:cubicBezTo>
                  <a:cubicBezTo>
                    <a:pt x="661274" y="239995"/>
                    <a:pt x="666974" y="258637"/>
                    <a:pt x="665835" y="278082"/>
                  </a:cubicBezTo>
                  <a:lnTo>
                    <a:pt x="661459" y="352725"/>
                  </a:lnTo>
                  <a:lnTo>
                    <a:pt x="653740" y="452639"/>
                  </a:lnTo>
                  <a:cubicBezTo>
                    <a:pt x="651403" y="472412"/>
                    <a:pt x="640713" y="487546"/>
                    <a:pt x="624346" y="496172"/>
                  </a:cubicBezTo>
                  <a:cubicBezTo>
                    <a:pt x="616519" y="500296"/>
                    <a:pt x="611263" y="508041"/>
                    <a:pt x="610087" y="516811"/>
                  </a:cubicBezTo>
                  <a:cubicBezTo>
                    <a:pt x="606019" y="547165"/>
                    <a:pt x="601346" y="577052"/>
                    <a:pt x="594890" y="607239"/>
                  </a:cubicBezTo>
                  <a:lnTo>
                    <a:pt x="594887" y="607234"/>
                  </a:lnTo>
                  <a:lnTo>
                    <a:pt x="579792" y="677818"/>
                  </a:lnTo>
                  <a:cubicBezTo>
                    <a:pt x="573260" y="708356"/>
                    <a:pt x="546894" y="729750"/>
                    <a:pt x="515628" y="729431"/>
                  </a:cubicBezTo>
                  <a:cubicBezTo>
                    <a:pt x="484983" y="729120"/>
                    <a:pt x="459574" y="707911"/>
                    <a:pt x="452853" y="678024"/>
                  </a:cubicBezTo>
                  <a:cubicBezTo>
                    <a:pt x="446998" y="651977"/>
                    <a:pt x="441206" y="626124"/>
                    <a:pt x="436391" y="599769"/>
                  </a:cubicBezTo>
                  <a:lnTo>
                    <a:pt x="430314" y="566494"/>
                  </a:lnTo>
                  <a:lnTo>
                    <a:pt x="422773" y="516495"/>
                  </a:lnTo>
                  <a:cubicBezTo>
                    <a:pt x="421482" y="507939"/>
                    <a:pt x="416166" y="500571"/>
                    <a:pt x="408541" y="496481"/>
                  </a:cubicBezTo>
                  <a:cubicBezTo>
                    <a:pt x="392241" y="487732"/>
                    <a:pt x="380690" y="472156"/>
                    <a:pt x="378928" y="452906"/>
                  </a:cubicBezTo>
                  <a:cubicBezTo>
                    <a:pt x="373630" y="394983"/>
                    <a:pt x="370047" y="337245"/>
                    <a:pt x="366800" y="279156"/>
                  </a:cubicBezTo>
                  <a:cubicBezTo>
                    <a:pt x="365621" y="258053"/>
                    <a:pt x="371471" y="238954"/>
                    <a:pt x="388440" y="225982"/>
                  </a:cubicBezTo>
                  <a:cubicBezTo>
                    <a:pt x="395275" y="220780"/>
                    <a:pt x="402625" y="217226"/>
                    <a:pt x="410807" y="214295"/>
                  </a:cubicBezTo>
                  <a:cubicBezTo>
                    <a:pt x="418220" y="211855"/>
                    <a:pt x="425769" y="210111"/>
                    <a:pt x="433474" y="208982"/>
                  </a:cubicBezTo>
                  <a:cubicBezTo>
                    <a:pt x="443258" y="207546"/>
                    <a:pt x="453039" y="211625"/>
                    <a:pt x="459001" y="219515"/>
                  </a:cubicBezTo>
                  <a:lnTo>
                    <a:pt x="494667" y="266716"/>
                  </a:lnTo>
                  <a:cubicBezTo>
                    <a:pt x="505556" y="281126"/>
                    <a:pt x="527204" y="281119"/>
                    <a:pt x="538083" y="266701"/>
                  </a:cubicBezTo>
                  <a:lnTo>
                    <a:pt x="573678" y="219515"/>
                  </a:lnTo>
                  <a:cubicBezTo>
                    <a:pt x="579648" y="211603"/>
                    <a:pt x="589447" y="207575"/>
                    <a:pt x="599263" y="208971"/>
                  </a:cubicBezTo>
                  <a:close/>
                  <a:moveTo>
                    <a:pt x="232609" y="208971"/>
                  </a:moveTo>
                  <a:cubicBezTo>
                    <a:pt x="238704" y="209839"/>
                    <a:pt x="244750" y="211099"/>
                    <a:pt x="250731" y="212826"/>
                  </a:cubicBezTo>
                  <a:cubicBezTo>
                    <a:pt x="261330" y="215942"/>
                    <a:pt x="270847" y="220509"/>
                    <a:pt x="279378" y="227454"/>
                  </a:cubicBezTo>
                  <a:cubicBezTo>
                    <a:pt x="294620" y="239995"/>
                    <a:pt x="300320" y="258637"/>
                    <a:pt x="299181" y="278082"/>
                  </a:cubicBezTo>
                  <a:lnTo>
                    <a:pt x="294805" y="352725"/>
                  </a:lnTo>
                  <a:lnTo>
                    <a:pt x="287087" y="452639"/>
                  </a:lnTo>
                  <a:cubicBezTo>
                    <a:pt x="284749" y="472412"/>
                    <a:pt x="274059" y="487546"/>
                    <a:pt x="257692" y="496172"/>
                  </a:cubicBezTo>
                  <a:cubicBezTo>
                    <a:pt x="249865" y="500296"/>
                    <a:pt x="244609" y="508041"/>
                    <a:pt x="243433" y="516811"/>
                  </a:cubicBezTo>
                  <a:cubicBezTo>
                    <a:pt x="239365" y="547165"/>
                    <a:pt x="234692" y="577052"/>
                    <a:pt x="228236" y="607239"/>
                  </a:cubicBezTo>
                  <a:lnTo>
                    <a:pt x="228233" y="607234"/>
                  </a:lnTo>
                  <a:lnTo>
                    <a:pt x="213138" y="677818"/>
                  </a:lnTo>
                  <a:cubicBezTo>
                    <a:pt x="206606" y="708356"/>
                    <a:pt x="180240" y="729750"/>
                    <a:pt x="148974" y="729431"/>
                  </a:cubicBezTo>
                  <a:cubicBezTo>
                    <a:pt x="118329" y="729120"/>
                    <a:pt x="92920" y="707911"/>
                    <a:pt x="86199" y="678024"/>
                  </a:cubicBezTo>
                  <a:cubicBezTo>
                    <a:pt x="80345" y="651977"/>
                    <a:pt x="74552" y="626124"/>
                    <a:pt x="69737" y="599769"/>
                  </a:cubicBezTo>
                  <a:lnTo>
                    <a:pt x="63660" y="566494"/>
                  </a:lnTo>
                  <a:lnTo>
                    <a:pt x="56119" y="516495"/>
                  </a:lnTo>
                  <a:cubicBezTo>
                    <a:pt x="54828" y="507939"/>
                    <a:pt x="49512" y="500571"/>
                    <a:pt x="41887" y="496481"/>
                  </a:cubicBezTo>
                  <a:cubicBezTo>
                    <a:pt x="25587" y="487732"/>
                    <a:pt x="14036" y="472156"/>
                    <a:pt x="12275" y="452906"/>
                  </a:cubicBezTo>
                  <a:cubicBezTo>
                    <a:pt x="6976" y="394983"/>
                    <a:pt x="3393" y="337245"/>
                    <a:pt x="147" y="279156"/>
                  </a:cubicBezTo>
                  <a:cubicBezTo>
                    <a:pt x="-1033" y="258053"/>
                    <a:pt x="4817" y="238954"/>
                    <a:pt x="21786" y="225982"/>
                  </a:cubicBezTo>
                  <a:cubicBezTo>
                    <a:pt x="28622" y="220780"/>
                    <a:pt x="35971" y="217226"/>
                    <a:pt x="44153" y="214295"/>
                  </a:cubicBezTo>
                  <a:cubicBezTo>
                    <a:pt x="51566" y="211855"/>
                    <a:pt x="59115" y="210111"/>
                    <a:pt x="66820" y="208982"/>
                  </a:cubicBezTo>
                  <a:cubicBezTo>
                    <a:pt x="76604" y="207546"/>
                    <a:pt x="86385" y="211625"/>
                    <a:pt x="92347" y="219515"/>
                  </a:cubicBezTo>
                  <a:lnTo>
                    <a:pt x="128013" y="266716"/>
                  </a:lnTo>
                  <a:cubicBezTo>
                    <a:pt x="138902" y="281126"/>
                    <a:pt x="160550" y="281119"/>
                    <a:pt x="171429" y="266701"/>
                  </a:cubicBezTo>
                  <a:lnTo>
                    <a:pt x="207024" y="219515"/>
                  </a:lnTo>
                  <a:cubicBezTo>
                    <a:pt x="212994" y="211603"/>
                    <a:pt x="222793" y="207575"/>
                    <a:pt x="232609" y="208971"/>
                  </a:cubicBezTo>
                  <a:close/>
                  <a:moveTo>
                    <a:pt x="1616286" y="0"/>
                  </a:moveTo>
                  <a:cubicBezTo>
                    <a:pt x="1665561" y="0"/>
                    <a:pt x="1705505" y="39978"/>
                    <a:pt x="1705505" y="89294"/>
                  </a:cubicBezTo>
                  <a:cubicBezTo>
                    <a:pt x="1705505" y="138609"/>
                    <a:pt x="1665561" y="178588"/>
                    <a:pt x="1616286" y="178588"/>
                  </a:cubicBezTo>
                  <a:cubicBezTo>
                    <a:pt x="1567012" y="178588"/>
                    <a:pt x="1527068" y="138609"/>
                    <a:pt x="1527068" y="89294"/>
                  </a:cubicBezTo>
                  <a:cubicBezTo>
                    <a:pt x="1527068" y="39978"/>
                    <a:pt x="1567012" y="0"/>
                    <a:pt x="1616286" y="0"/>
                  </a:cubicBezTo>
                  <a:close/>
                  <a:moveTo>
                    <a:pt x="1249632" y="0"/>
                  </a:moveTo>
                  <a:cubicBezTo>
                    <a:pt x="1298906" y="0"/>
                    <a:pt x="1338851" y="39978"/>
                    <a:pt x="1338851" y="89294"/>
                  </a:cubicBezTo>
                  <a:cubicBezTo>
                    <a:pt x="1338851" y="138609"/>
                    <a:pt x="1298906" y="178588"/>
                    <a:pt x="1249632" y="178588"/>
                  </a:cubicBezTo>
                  <a:cubicBezTo>
                    <a:pt x="1200358" y="178588"/>
                    <a:pt x="1160414" y="138609"/>
                    <a:pt x="1160414" y="89294"/>
                  </a:cubicBezTo>
                  <a:cubicBezTo>
                    <a:pt x="1160414" y="39978"/>
                    <a:pt x="1200358" y="0"/>
                    <a:pt x="1249632" y="0"/>
                  </a:cubicBezTo>
                  <a:close/>
                  <a:moveTo>
                    <a:pt x="882979" y="0"/>
                  </a:moveTo>
                  <a:cubicBezTo>
                    <a:pt x="932254" y="0"/>
                    <a:pt x="972198" y="39978"/>
                    <a:pt x="972198" y="89294"/>
                  </a:cubicBezTo>
                  <a:cubicBezTo>
                    <a:pt x="972198" y="138609"/>
                    <a:pt x="932254" y="178588"/>
                    <a:pt x="882979" y="178588"/>
                  </a:cubicBezTo>
                  <a:cubicBezTo>
                    <a:pt x="833705" y="178588"/>
                    <a:pt x="793761" y="138609"/>
                    <a:pt x="793761" y="89294"/>
                  </a:cubicBezTo>
                  <a:cubicBezTo>
                    <a:pt x="793761" y="39978"/>
                    <a:pt x="833705" y="0"/>
                    <a:pt x="882979" y="0"/>
                  </a:cubicBezTo>
                  <a:close/>
                  <a:moveTo>
                    <a:pt x="516325" y="0"/>
                  </a:moveTo>
                  <a:cubicBezTo>
                    <a:pt x="565600" y="0"/>
                    <a:pt x="605544" y="39978"/>
                    <a:pt x="605544" y="89294"/>
                  </a:cubicBezTo>
                  <a:cubicBezTo>
                    <a:pt x="605544" y="138609"/>
                    <a:pt x="565600" y="178588"/>
                    <a:pt x="516325" y="178588"/>
                  </a:cubicBezTo>
                  <a:cubicBezTo>
                    <a:pt x="467051" y="178588"/>
                    <a:pt x="427107" y="138609"/>
                    <a:pt x="427107" y="89294"/>
                  </a:cubicBezTo>
                  <a:cubicBezTo>
                    <a:pt x="427107" y="39978"/>
                    <a:pt x="467051" y="0"/>
                    <a:pt x="516325" y="0"/>
                  </a:cubicBezTo>
                  <a:close/>
                  <a:moveTo>
                    <a:pt x="149671" y="0"/>
                  </a:moveTo>
                  <a:cubicBezTo>
                    <a:pt x="198946" y="0"/>
                    <a:pt x="238890" y="39978"/>
                    <a:pt x="238890" y="89294"/>
                  </a:cubicBezTo>
                  <a:cubicBezTo>
                    <a:pt x="238890" y="138609"/>
                    <a:pt x="198946" y="178588"/>
                    <a:pt x="149671" y="178588"/>
                  </a:cubicBezTo>
                  <a:cubicBezTo>
                    <a:pt x="100397" y="178588"/>
                    <a:pt x="60453" y="138609"/>
                    <a:pt x="60453" y="89294"/>
                  </a:cubicBezTo>
                  <a:cubicBezTo>
                    <a:pt x="60453" y="39978"/>
                    <a:pt x="100397" y="0"/>
                    <a:pt x="149671" y="0"/>
                  </a:cubicBezTo>
                  <a:close/>
                </a:path>
              </a:pathLst>
            </a:custGeom>
            <a:gradFill>
              <a:gsLst>
                <a:gs pos="4000">
                  <a:schemeClr val="accent2"/>
                </a:gs>
                <a:gs pos="83000">
                  <a:schemeClr val="accent2">
                    <a:lumMod val="75000"/>
                  </a:schemeClr>
                </a:gs>
              </a:gsLst>
              <a:lin ang="0" scaled="1"/>
            </a:gradFill>
            <a:ln w="529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fr-FR" dirty="0"/>
            </a:p>
          </p:txBody>
        </p:sp>
      </p:grp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D08D1312-D21E-4D32-FFEC-6488068CB122}"/>
              </a:ext>
            </a:extLst>
          </p:cNvPr>
          <p:cNvGrpSpPr/>
          <p:nvPr/>
        </p:nvGrpSpPr>
        <p:grpSpPr>
          <a:xfrm>
            <a:off x="541553" y="3272363"/>
            <a:ext cx="2866027" cy="581185"/>
            <a:chOff x="742219" y="3272363"/>
            <a:chExt cx="3597554" cy="729527"/>
          </a:xfrm>
        </p:grpSpPr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6D68937D-C78B-1397-EE8D-53454FDE10D6}"/>
                </a:ext>
              </a:extLst>
            </p:cNvPr>
            <p:cNvGrpSpPr/>
            <p:nvPr/>
          </p:nvGrpSpPr>
          <p:grpSpPr>
            <a:xfrm>
              <a:off x="742219" y="3272363"/>
              <a:ext cx="3597554" cy="729527"/>
              <a:chOff x="742218" y="3272363"/>
              <a:chExt cx="4353059" cy="882732"/>
            </a:xfrm>
            <a:gradFill>
              <a:gsLst>
                <a:gs pos="4000">
                  <a:schemeClr val="bg1">
                    <a:lumMod val="95000"/>
                  </a:schemeClr>
                </a:gs>
                <a:gs pos="83000">
                  <a:schemeClr val="bg1">
                    <a:lumMod val="85000"/>
                  </a:schemeClr>
                </a:gs>
              </a:gsLst>
              <a:lin ang="5400000" scaled="1"/>
            </a:gradFill>
          </p:grpSpPr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5DAB70F9-B6B4-EE8F-FC38-5D739A2C5EC0}"/>
                  </a:ext>
                </a:extLst>
              </p:cNvPr>
              <p:cNvSpPr/>
              <p:nvPr/>
            </p:nvSpPr>
            <p:spPr>
              <a:xfrm>
                <a:off x="742218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FECEB59C-50E4-D045-8C67-D8FCDCA08FDE}"/>
                  </a:ext>
                </a:extLst>
              </p:cNvPr>
              <p:cNvSpPr/>
              <p:nvPr/>
            </p:nvSpPr>
            <p:spPr>
              <a:xfrm>
                <a:off x="1185649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8EDC61C1-80A0-3DAE-71BF-D339A910C8E6}"/>
                  </a:ext>
                </a:extLst>
              </p:cNvPr>
              <p:cNvSpPr/>
              <p:nvPr/>
            </p:nvSpPr>
            <p:spPr>
              <a:xfrm>
                <a:off x="1629080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A586203D-53D5-367B-E99C-3085FABB7E20}"/>
                  </a:ext>
                </a:extLst>
              </p:cNvPr>
              <p:cNvSpPr/>
              <p:nvPr/>
            </p:nvSpPr>
            <p:spPr>
              <a:xfrm>
                <a:off x="2072511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92158A03-7103-4D15-4914-2DD8BAAB9E08}"/>
                  </a:ext>
                </a:extLst>
              </p:cNvPr>
              <p:cNvSpPr/>
              <p:nvPr/>
            </p:nvSpPr>
            <p:spPr>
              <a:xfrm>
                <a:off x="2515942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C46FEEBA-6DE9-F2D0-2B5F-0CC46D3E2609}"/>
                  </a:ext>
                </a:extLst>
              </p:cNvPr>
              <p:cNvSpPr/>
              <p:nvPr/>
            </p:nvSpPr>
            <p:spPr>
              <a:xfrm>
                <a:off x="3402804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40319C03-3449-9321-F188-F80157BB3717}"/>
                  </a:ext>
                </a:extLst>
              </p:cNvPr>
              <p:cNvSpPr/>
              <p:nvPr/>
            </p:nvSpPr>
            <p:spPr>
              <a:xfrm>
                <a:off x="2959373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D4B3031D-70F9-4A57-622B-6A2DDCDDC559}"/>
                  </a:ext>
                </a:extLst>
              </p:cNvPr>
              <p:cNvSpPr/>
              <p:nvPr/>
            </p:nvSpPr>
            <p:spPr>
              <a:xfrm>
                <a:off x="3846235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CA0BE84A-7DDE-53D5-3B4C-C4ED437E74D6}"/>
                  </a:ext>
                </a:extLst>
              </p:cNvPr>
              <p:cNvSpPr/>
              <p:nvPr/>
            </p:nvSpPr>
            <p:spPr>
              <a:xfrm>
                <a:off x="4289666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FD60FF1A-ECB4-E029-09B0-C798CB1681C7}"/>
                  </a:ext>
                </a:extLst>
              </p:cNvPr>
              <p:cNvSpPr/>
              <p:nvPr/>
            </p:nvSpPr>
            <p:spPr>
              <a:xfrm>
                <a:off x="4733097" y="3272363"/>
                <a:ext cx="362180" cy="882732"/>
              </a:xfrm>
              <a:custGeom>
                <a:avLst/>
                <a:gdLst>
                  <a:gd name="csX0" fmla="*/ 471113 w 2110285"/>
                  <a:gd name="csY0" fmla="*/ 1473426 h 5143352"/>
                  <a:gd name="csX1" fmla="*/ 651089 w 2110285"/>
                  <a:gd name="csY1" fmla="*/ 1547694 h 5143352"/>
                  <a:gd name="csX2" fmla="*/ 902533 w 2110285"/>
                  <a:gd name="csY2" fmla="*/ 1880483 h 5143352"/>
                  <a:gd name="csX3" fmla="*/ 1055161 w 2110285"/>
                  <a:gd name="csY3" fmla="*/ 1956631 h 5143352"/>
                  <a:gd name="csX4" fmla="*/ 1207789 w 2110285"/>
                  <a:gd name="csY4" fmla="*/ 1880483 h 5143352"/>
                  <a:gd name="csX5" fmla="*/ 1459233 w 2110285"/>
                  <a:gd name="csY5" fmla="*/ 1547694 h 5143352"/>
                  <a:gd name="csX6" fmla="*/ 1639209 w 2110285"/>
                  <a:gd name="csY6" fmla="*/ 1473426 h 5143352"/>
                  <a:gd name="csX7" fmla="*/ 1799025 w 2110285"/>
                  <a:gd name="csY7" fmla="*/ 1510891 h 5143352"/>
                  <a:gd name="csX8" fmla="*/ 1956721 w 2110285"/>
                  <a:gd name="csY8" fmla="*/ 1593287 h 5143352"/>
                  <a:gd name="csX9" fmla="*/ 1956684 w 2110285"/>
                  <a:gd name="csY9" fmla="*/ 1593287 h 5143352"/>
                  <a:gd name="csX10" fmla="*/ 2109257 w 2110285"/>
                  <a:gd name="csY10" fmla="*/ 1968186 h 5143352"/>
                  <a:gd name="csX11" fmla="*/ 2023746 w 2110285"/>
                  <a:gd name="csY11" fmla="*/ 3193208 h 5143352"/>
                  <a:gd name="csX12" fmla="*/ 1855749 w 2110285"/>
                  <a:gd name="csY12" fmla="*/ 3475557 h 5143352"/>
                  <a:gd name="csX13" fmla="*/ 1935398 w 2110285"/>
                  <a:gd name="csY13" fmla="*/ 3753004 h 5143352"/>
                  <a:gd name="csX14" fmla="*/ 1924157 w 2110285"/>
                  <a:gd name="csY14" fmla="*/ 4022637 h 5143352"/>
                  <a:gd name="csX15" fmla="*/ 1502614 w 2110285"/>
                  <a:gd name="csY15" fmla="*/ 4299660 h 5143352"/>
                  <a:gd name="csX16" fmla="*/ 1373631 w 2110285"/>
                  <a:gd name="csY16" fmla="*/ 4776913 h 5143352"/>
                  <a:gd name="csX17" fmla="*/ 1059971 w 2110285"/>
                  <a:gd name="csY17" fmla="*/ 5142873 h 5143352"/>
                  <a:gd name="csX18" fmla="*/ 1055143 w 2110285"/>
                  <a:gd name="csY18" fmla="*/ 5143352 h 5143352"/>
                  <a:gd name="csX19" fmla="*/ 1050314 w 2110285"/>
                  <a:gd name="csY19" fmla="*/ 5142873 h 5143352"/>
                  <a:gd name="csX20" fmla="*/ 736655 w 2110285"/>
                  <a:gd name="csY20" fmla="*/ 4776913 h 5143352"/>
                  <a:gd name="csX21" fmla="*/ 607671 w 2110285"/>
                  <a:gd name="csY21" fmla="*/ 4299660 h 5143352"/>
                  <a:gd name="csX22" fmla="*/ 186129 w 2110285"/>
                  <a:gd name="csY22" fmla="*/ 4022637 h 5143352"/>
                  <a:gd name="csX23" fmla="*/ 174887 w 2110285"/>
                  <a:gd name="csY23" fmla="*/ 3753004 h 5143352"/>
                  <a:gd name="csX24" fmla="*/ 254537 w 2110285"/>
                  <a:gd name="csY24" fmla="*/ 3475557 h 5143352"/>
                  <a:gd name="csX25" fmla="*/ 86539 w 2110285"/>
                  <a:gd name="csY25" fmla="*/ 3193208 h 5143352"/>
                  <a:gd name="csX26" fmla="*/ 1029 w 2110285"/>
                  <a:gd name="csY26" fmla="*/ 1968186 h 5143352"/>
                  <a:gd name="csX27" fmla="*/ 153602 w 2110285"/>
                  <a:gd name="csY27" fmla="*/ 1593287 h 5143352"/>
                  <a:gd name="csX28" fmla="*/ 311298 w 2110285"/>
                  <a:gd name="csY28" fmla="*/ 1510891 h 5143352"/>
                  <a:gd name="csX29" fmla="*/ 471113 w 2110285"/>
                  <a:gd name="csY29" fmla="*/ 1473426 h 5143352"/>
                  <a:gd name="csX30" fmla="*/ 1096829 w 2110285"/>
                  <a:gd name="csY30" fmla="*/ 0 h 5143352"/>
                  <a:gd name="csX31" fmla="*/ 1725862 w 2110285"/>
                  <a:gd name="csY31" fmla="*/ 629567 h 5143352"/>
                  <a:gd name="csX32" fmla="*/ 1096829 w 2110285"/>
                  <a:gd name="csY32" fmla="*/ 1259135 h 5143352"/>
                  <a:gd name="csX33" fmla="*/ 467796 w 2110285"/>
                  <a:gd name="csY33" fmla="*/ 629567 h 5143352"/>
                  <a:gd name="csX34" fmla="*/ 1096829 w 2110285"/>
                  <a:gd name="csY34" fmla="*/ 0 h 51433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10285" h="5143352">
                    <a:moveTo>
                      <a:pt x="471113" y="1473426"/>
                    </a:moveTo>
                    <a:cubicBezTo>
                      <a:pt x="540092" y="1463326"/>
                      <a:pt x="609053" y="1492076"/>
                      <a:pt x="651089" y="1547694"/>
                    </a:cubicBezTo>
                    <a:lnTo>
                      <a:pt x="902533" y="1880483"/>
                    </a:lnTo>
                    <a:cubicBezTo>
                      <a:pt x="940810" y="1931144"/>
                      <a:pt x="997958" y="1956520"/>
                      <a:pt x="1055161" y="1956631"/>
                    </a:cubicBezTo>
                    <a:cubicBezTo>
                      <a:pt x="1112346" y="1956520"/>
                      <a:pt x="1169512" y="1931144"/>
                      <a:pt x="1207789" y="1880483"/>
                    </a:cubicBezTo>
                    <a:lnTo>
                      <a:pt x="1459233" y="1547694"/>
                    </a:lnTo>
                    <a:cubicBezTo>
                      <a:pt x="1501269" y="1492057"/>
                      <a:pt x="1570230" y="1463308"/>
                      <a:pt x="1639209" y="1473426"/>
                    </a:cubicBezTo>
                    <a:cubicBezTo>
                      <a:pt x="1693538" y="1481387"/>
                      <a:pt x="1746760" y="1493679"/>
                      <a:pt x="1799025" y="1510891"/>
                    </a:cubicBezTo>
                    <a:cubicBezTo>
                      <a:pt x="1856707" y="1531550"/>
                      <a:pt x="1908529" y="1556613"/>
                      <a:pt x="1956721" y="1593287"/>
                    </a:cubicBezTo>
                    <a:lnTo>
                      <a:pt x="1956684" y="1593287"/>
                    </a:lnTo>
                    <a:cubicBezTo>
                      <a:pt x="2076324" y="1684749"/>
                      <a:pt x="2117568" y="1819409"/>
                      <a:pt x="2109257" y="1968186"/>
                    </a:cubicBezTo>
                    <a:cubicBezTo>
                      <a:pt x="2086368" y="2377749"/>
                      <a:pt x="2061102" y="2784825"/>
                      <a:pt x="2023746" y="3193208"/>
                    </a:cubicBezTo>
                    <a:cubicBezTo>
                      <a:pt x="2012855" y="3312259"/>
                      <a:pt x="1948851" y="3411370"/>
                      <a:pt x="1855749" y="3475557"/>
                    </a:cubicBezTo>
                    <a:lnTo>
                      <a:pt x="1935398" y="3753004"/>
                    </a:lnTo>
                    <a:cubicBezTo>
                      <a:pt x="1950307" y="3808715"/>
                      <a:pt x="1968534" y="3913722"/>
                      <a:pt x="1924157" y="4022637"/>
                    </a:cubicBezTo>
                    <a:cubicBezTo>
                      <a:pt x="1862088" y="4174970"/>
                      <a:pt x="1699582" y="4280825"/>
                      <a:pt x="1502614" y="4299660"/>
                    </a:cubicBezTo>
                    <a:cubicBezTo>
                      <a:pt x="1430097" y="4476043"/>
                      <a:pt x="1392889" y="4640649"/>
                      <a:pt x="1373631" y="4776913"/>
                    </a:cubicBezTo>
                    <a:cubicBezTo>
                      <a:pt x="1372894" y="4967320"/>
                      <a:pt x="1231563" y="5123504"/>
                      <a:pt x="1059971" y="5142873"/>
                    </a:cubicBezTo>
                    <a:cubicBezTo>
                      <a:pt x="1058368" y="5143058"/>
                      <a:pt x="1056746" y="5143187"/>
                      <a:pt x="1055143" y="5143352"/>
                    </a:cubicBezTo>
                    <a:cubicBezTo>
                      <a:pt x="1053539" y="5143187"/>
                      <a:pt x="1051918" y="5143058"/>
                      <a:pt x="1050314" y="5142873"/>
                    </a:cubicBezTo>
                    <a:cubicBezTo>
                      <a:pt x="878723" y="5123504"/>
                      <a:pt x="737392" y="4967320"/>
                      <a:pt x="736655" y="4776913"/>
                    </a:cubicBezTo>
                    <a:cubicBezTo>
                      <a:pt x="717415" y="4640631"/>
                      <a:pt x="680189" y="4476043"/>
                      <a:pt x="607671" y="4299660"/>
                    </a:cubicBezTo>
                    <a:cubicBezTo>
                      <a:pt x="410703" y="4280825"/>
                      <a:pt x="248197" y="4174970"/>
                      <a:pt x="186129" y="4022637"/>
                    </a:cubicBezTo>
                    <a:cubicBezTo>
                      <a:pt x="141752" y="3913741"/>
                      <a:pt x="159997" y="3808733"/>
                      <a:pt x="174887" y="3753004"/>
                    </a:cubicBezTo>
                    <a:lnTo>
                      <a:pt x="254537" y="3475557"/>
                    </a:lnTo>
                    <a:cubicBezTo>
                      <a:pt x="161434" y="3411370"/>
                      <a:pt x="97431" y="3312259"/>
                      <a:pt x="86539" y="3193208"/>
                    </a:cubicBezTo>
                    <a:cubicBezTo>
                      <a:pt x="49184" y="2784825"/>
                      <a:pt x="23918" y="2377731"/>
                      <a:pt x="1029" y="1968186"/>
                    </a:cubicBezTo>
                    <a:cubicBezTo>
                      <a:pt x="-7282" y="1819391"/>
                      <a:pt x="33961" y="1684749"/>
                      <a:pt x="153602" y="1593287"/>
                    </a:cubicBezTo>
                    <a:cubicBezTo>
                      <a:pt x="201793" y="1556613"/>
                      <a:pt x="253634" y="1531550"/>
                      <a:pt x="311298" y="1510891"/>
                    </a:cubicBezTo>
                    <a:cubicBezTo>
                      <a:pt x="363562" y="1493697"/>
                      <a:pt x="416803" y="1481387"/>
                      <a:pt x="471113" y="1473426"/>
                    </a:cubicBezTo>
                    <a:close/>
                    <a:moveTo>
                      <a:pt x="1096829" y="0"/>
                    </a:moveTo>
                    <a:cubicBezTo>
                      <a:pt x="1444234" y="0"/>
                      <a:pt x="1725862" y="281867"/>
                      <a:pt x="1725862" y="629567"/>
                    </a:cubicBezTo>
                    <a:cubicBezTo>
                      <a:pt x="1725862" y="977268"/>
                      <a:pt x="1444234" y="1259135"/>
                      <a:pt x="1096829" y="1259135"/>
                    </a:cubicBezTo>
                    <a:cubicBezTo>
                      <a:pt x="749424" y="1259135"/>
                      <a:pt x="467796" y="977268"/>
                      <a:pt x="467796" y="629567"/>
                    </a:cubicBezTo>
                    <a:cubicBezTo>
                      <a:pt x="467796" y="281867"/>
                      <a:pt x="749424" y="0"/>
                      <a:pt x="1096829" y="0"/>
                    </a:cubicBezTo>
                    <a:close/>
                  </a:path>
                </a:pathLst>
              </a:custGeom>
              <a:grpFill/>
              <a:ln w="529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fr-FR" dirty="0"/>
              </a:p>
            </p:txBody>
          </p:sp>
        </p:grp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D244F09F-97FA-9B2C-C29D-D8C7A2618CB5}"/>
                </a:ext>
              </a:extLst>
            </p:cNvPr>
            <p:cNvSpPr/>
            <p:nvPr/>
          </p:nvSpPr>
          <p:spPr>
            <a:xfrm>
              <a:off x="742219" y="3272363"/>
              <a:ext cx="1725996" cy="729527"/>
            </a:xfrm>
            <a:custGeom>
              <a:avLst/>
              <a:gdLst>
                <a:gd name="csX0" fmla="*/ 1532702 w 1725996"/>
                <a:gd name="csY0" fmla="*/ 208989 h 729527"/>
                <a:gd name="csX1" fmla="*/ 1558230 w 1725996"/>
                <a:gd name="csY1" fmla="*/ 219523 h 729527"/>
                <a:gd name="csX2" fmla="*/ 1593894 w 1725996"/>
                <a:gd name="csY2" fmla="*/ 266726 h 729527"/>
                <a:gd name="csX3" fmla="*/ 1615543 w 1725996"/>
                <a:gd name="csY3" fmla="*/ 277526 h 729527"/>
                <a:gd name="csX4" fmla="*/ 1637192 w 1725996"/>
                <a:gd name="csY4" fmla="*/ 266726 h 729527"/>
                <a:gd name="csX5" fmla="*/ 1672856 w 1725996"/>
                <a:gd name="csY5" fmla="*/ 219523 h 729527"/>
                <a:gd name="csX6" fmla="*/ 1698384 w 1725996"/>
                <a:gd name="csY6" fmla="*/ 208989 h 729527"/>
                <a:gd name="csX7" fmla="*/ 1721052 w 1725996"/>
                <a:gd name="csY7" fmla="*/ 214303 h 729527"/>
                <a:gd name="csX8" fmla="*/ 1725996 w 1725996"/>
                <a:gd name="csY8" fmla="*/ 216886 h 729527"/>
                <a:gd name="csX9" fmla="*/ 1725996 w 1725996"/>
                <a:gd name="csY9" fmla="*/ 585640 h 729527"/>
                <a:gd name="csX10" fmla="*/ 1716080 w 1725996"/>
                <a:gd name="csY10" fmla="*/ 597313 h 729527"/>
                <a:gd name="csX11" fmla="*/ 1679009 w 1725996"/>
                <a:gd name="csY11" fmla="*/ 609859 h 729527"/>
                <a:gd name="csX12" fmla="*/ 1660715 w 1725996"/>
                <a:gd name="csY12" fmla="*/ 677552 h 729527"/>
                <a:gd name="csX13" fmla="*/ 1616225 w 1725996"/>
                <a:gd name="csY13" fmla="*/ 729459 h 729527"/>
                <a:gd name="csX14" fmla="*/ 1615540 w 1725996"/>
                <a:gd name="csY14" fmla="*/ 729527 h 729527"/>
                <a:gd name="csX15" fmla="*/ 1614855 w 1725996"/>
                <a:gd name="csY15" fmla="*/ 729459 h 729527"/>
                <a:gd name="csX16" fmla="*/ 1570366 w 1725996"/>
                <a:gd name="csY16" fmla="*/ 677552 h 729527"/>
                <a:gd name="csX17" fmla="*/ 1552071 w 1725996"/>
                <a:gd name="csY17" fmla="*/ 609859 h 729527"/>
                <a:gd name="csX18" fmla="*/ 1492280 w 1725996"/>
                <a:gd name="csY18" fmla="*/ 570566 h 729527"/>
                <a:gd name="csX19" fmla="*/ 1490686 w 1725996"/>
                <a:gd name="csY19" fmla="*/ 532322 h 729527"/>
                <a:gd name="csX20" fmla="*/ 1501983 w 1725996"/>
                <a:gd name="csY20" fmla="*/ 492969 h 729527"/>
                <a:gd name="csX21" fmla="*/ 1478154 w 1725996"/>
                <a:gd name="csY21" fmla="*/ 452921 h 729527"/>
                <a:gd name="csX22" fmla="*/ 1466026 w 1725996"/>
                <a:gd name="csY22" fmla="*/ 279165 h 729527"/>
                <a:gd name="csX23" fmla="*/ 1487667 w 1725996"/>
                <a:gd name="csY23" fmla="*/ 225990 h 729527"/>
                <a:gd name="csX24" fmla="*/ 1510034 w 1725996"/>
                <a:gd name="csY24" fmla="*/ 214303 h 729527"/>
                <a:gd name="csX25" fmla="*/ 1532702 w 1725996"/>
                <a:gd name="csY25" fmla="*/ 208989 h 729527"/>
                <a:gd name="csX26" fmla="*/ 1166233 w 1725996"/>
                <a:gd name="csY26" fmla="*/ 208989 h 729527"/>
                <a:gd name="csX27" fmla="*/ 1191760 w 1725996"/>
                <a:gd name="csY27" fmla="*/ 219523 h 729527"/>
                <a:gd name="csX28" fmla="*/ 1227425 w 1725996"/>
                <a:gd name="csY28" fmla="*/ 266726 h 729527"/>
                <a:gd name="csX29" fmla="*/ 1249073 w 1725996"/>
                <a:gd name="csY29" fmla="*/ 277526 h 729527"/>
                <a:gd name="csX30" fmla="*/ 1270722 w 1725996"/>
                <a:gd name="csY30" fmla="*/ 266726 h 729527"/>
                <a:gd name="csX31" fmla="*/ 1306387 w 1725996"/>
                <a:gd name="csY31" fmla="*/ 219523 h 729527"/>
                <a:gd name="csX32" fmla="*/ 1331914 w 1725996"/>
                <a:gd name="csY32" fmla="*/ 208989 h 729527"/>
                <a:gd name="csX33" fmla="*/ 1354583 w 1725996"/>
                <a:gd name="csY33" fmla="*/ 214303 h 729527"/>
                <a:gd name="csX34" fmla="*/ 1376949 w 1725996"/>
                <a:gd name="csY34" fmla="*/ 225990 h 729527"/>
                <a:gd name="csX35" fmla="*/ 1376944 w 1725996"/>
                <a:gd name="csY35" fmla="*/ 225990 h 729527"/>
                <a:gd name="csX36" fmla="*/ 1398585 w 1725996"/>
                <a:gd name="csY36" fmla="*/ 279165 h 729527"/>
                <a:gd name="csX37" fmla="*/ 1386456 w 1725996"/>
                <a:gd name="csY37" fmla="*/ 452921 h 729527"/>
                <a:gd name="csX38" fmla="*/ 1362628 w 1725996"/>
                <a:gd name="csY38" fmla="*/ 492969 h 729527"/>
                <a:gd name="csX39" fmla="*/ 1373925 w 1725996"/>
                <a:gd name="csY39" fmla="*/ 532322 h 729527"/>
                <a:gd name="csX40" fmla="*/ 1372331 w 1725996"/>
                <a:gd name="csY40" fmla="*/ 570566 h 729527"/>
                <a:gd name="csX41" fmla="*/ 1312540 w 1725996"/>
                <a:gd name="csY41" fmla="*/ 609859 h 729527"/>
                <a:gd name="csX42" fmla="*/ 1294245 w 1725996"/>
                <a:gd name="csY42" fmla="*/ 677552 h 729527"/>
                <a:gd name="csX43" fmla="*/ 1249756 w 1725996"/>
                <a:gd name="csY43" fmla="*/ 729459 h 729527"/>
                <a:gd name="csX44" fmla="*/ 1249071 w 1725996"/>
                <a:gd name="csY44" fmla="*/ 729527 h 729527"/>
                <a:gd name="csX45" fmla="*/ 1248386 w 1725996"/>
                <a:gd name="csY45" fmla="*/ 729459 h 729527"/>
                <a:gd name="csX46" fmla="*/ 1203897 w 1725996"/>
                <a:gd name="csY46" fmla="*/ 677552 h 729527"/>
                <a:gd name="csX47" fmla="*/ 1185602 w 1725996"/>
                <a:gd name="csY47" fmla="*/ 609859 h 729527"/>
                <a:gd name="csX48" fmla="*/ 1125811 w 1725996"/>
                <a:gd name="csY48" fmla="*/ 570566 h 729527"/>
                <a:gd name="csX49" fmla="*/ 1124216 w 1725996"/>
                <a:gd name="csY49" fmla="*/ 532322 h 729527"/>
                <a:gd name="csX50" fmla="*/ 1135514 w 1725996"/>
                <a:gd name="csY50" fmla="*/ 492969 h 729527"/>
                <a:gd name="csX51" fmla="*/ 1111685 w 1725996"/>
                <a:gd name="csY51" fmla="*/ 452921 h 729527"/>
                <a:gd name="csX52" fmla="*/ 1099556 w 1725996"/>
                <a:gd name="csY52" fmla="*/ 279165 h 729527"/>
                <a:gd name="csX53" fmla="*/ 1121197 w 1725996"/>
                <a:gd name="csY53" fmla="*/ 225990 h 729527"/>
                <a:gd name="csX54" fmla="*/ 1143565 w 1725996"/>
                <a:gd name="csY54" fmla="*/ 214303 h 729527"/>
                <a:gd name="csX55" fmla="*/ 1166233 w 1725996"/>
                <a:gd name="csY55" fmla="*/ 208989 h 729527"/>
                <a:gd name="csX56" fmla="*/ 799762 w 1725996"/>
                <a:gd name="csY56" fmla="*/ 208989 h 729527"/>
                <a:gd name="csX57" fmla="*/ 825290 w 1725996"/>
                <a:gd name="csY57" fmla="*/ 219523 h 729527"/>
                <a:gd name="csX58" fmla="*/ 860955 w 1725996"/>
                <a:gd name="csY58" fmla="*/ 266726 h 729527"/>
                <a:gd name="csX59" fmla="*/ 882603 w 1725996"/>
                <a:gd name="csY59" fmla="*/ 277526 h 729527"/>
                <a:gd name="csX60" fmla="*/ 904252 w 1725996"/>
                <a:gd name="csY60" fmla="*/ 266726 h 729527"/>
                <a:gd name="csX61" fmla="*/ 939916 w 1725996"/>
                <a:gd name="csY61" fmla="*/ 219523 h 729527"/>
                <a:gd name="csX62" fmla="*/ 965444 w 1725996"/>
                <a:gd name="csY62" fmla="*/ 208989 h 729527"/>
                <a:gd name="csX63" fmla="*/ 988112 w 1725996"/>
                <a:gd name="csY63" fmla="*/ 214303 h 729527"/>
                <a:gd name="csX64" fmla="*/ 1010480 w 1725996"/>
                <a:gd name="csY64" fmla="*/ 225990 h 729527"/>
                <a:gd name="csX65" fmla="*/ 1010475 w 1725996"/>
                <a:gd name="csY65" fmla="*/ 225990 h 729527"/>
                <a:gd name="csX66" fmla="*/ 1032116 w 1725996"/>
                <a:gd name="csY66" fmla="*/ 279165 h 729527"/>
                <a:gd name="csX67" fmla="*/ 1019987 w 1725996"/>
                <a:gd name="csY67" fmla="*/ 452921 h 729527"/>
                <a:gd name="csX68" fmla="*/ 996158 w 1725996"/>
                <a:gd name="csY68" fmla="*/ 492969 h 729527"/>
                <a:gd name="csX69" fmla="*/ 1007456 w 1725996"/>
                <a:gd name="csY69" fmla="*/ 532322 h 729527"/>
                <a:gd name="csX70" fmla="*/ 1005861 w 1725996"/>
                <a:gd name="csY70" fmla="*/ 570566 h 729527"/>
                <a:gd name="csX71" fmla="*/ 946070 w 1725996"/>
                <a:gd name="csY71" fmla="*/ 609859 h 729527"/>
                <a:gd name="csX72" fmla="*/ 927775 w 1725996"/>
                <a:gd name="csY72" fmla="*/ 677552 h 729527"/>
                <a:gd name="csX73" fmla="*/ 883286 w 1725996"/>
                <a:gd name="csY73" fmla="*/ 729459 h 729527"/>
                <a:gd name="csX74" fmla="*/ 882601 w 1725996"/>
                <a:gd name="csY74" fmla="*/ 729527 h 729527"/>
                <a:gd name="csX75" fmla="*/ 881916 w 1725996"/>
                <a:gd name="csY75" fmla="*/ 729459 h 729527"/>
                <a:gd name="csX76" fmla="*/ 837427 w 1725996"/>
                <a:gd name="csY76" fmla="*/ 677552 h 729527"/>
                <a:gd name="csX77" fmla="*/ 819132 w 1725996"/>
                <a:gd name="csY77" fmla="*/ 609859 h 729527"/>
                <a:gd name="csX78" fmla="*/ 759340 w 1725996"/>
                <a:gd name="csY78" fmla="*/ 570566 h 729527"/>
                <a:gd name="csX79" fmla="*/ 757746 w 1725996"/>
                <a:gd name="csY79" fmla="*/ 532322 h 729527"/>
                <a:gd name="csX80" fmla="*/ 769043 w 1725996"/>
                <a:gd name="csY80" fmla="*/ 492969 h 729527"/>
                <a:gd name="csX81" fmla="*/ 745215 w 1725996"/>
                <a:gd name="csY81" fmla="*/ 452921 h 729527"/>
                <a:gd name="csX82" fmla="*/ 733086 w 1725996"/>
                <a:gd name="csY82" fmla="*/ 279165 h 729527"/>
                <a:gd name="csX83" fmla="*/ 754727 w 1725996"/>
                <a:gd name="csY83" fmla="*/ 225990 h 729527"/>
                <a:gd name="csX84" fmla="*/ 777095 w 1725996"/>
                <a:gd name="csY84" fmla="*/ 214303 h 729527"/>
                <a:gd name="csX85" fmla="*/ 799762 w 1725996"/>
                <a:gd name="csY85" fmla="*/ 208989 h 729527"/>
                <a:gd name="csX86" fmla="*/ 433291 w 1725996"/>
                <a:gd name="csY86" fmla="*/ 208989 h 729527"/>
                <a:gd name="csX87" fmla="*/ 458819 w 1725996"/>
                <a:gd name="csY87" fmla="*/ 219523 h 729527"/>
                <a:gd name="csX88" fmla="*/ 494484 w 1725996"/>
                <a:gd name="csY88" fmla="*/ 266726 h 729527"/>
                <a:gd name="csX89" fmla="*/ 516132 w 1725996"/>
                <a:gd name="csY89" fmla="*/ 277526 h 729527"/>
                <a:gd name="csX90" fmla="*/ 537781 w 1725996"/>
                <a:gd name="csY90" fmla="*/ 266726 h 729527"/>
                <a:gd name="csX91" fmla="*/ 573446 w 1725996"/>
                <a:gd name="csY91" fmla="*/ 219523 h 729527"/>
                <a:gd name="csX92" fmla="*/ 598973 w 1725996"/>
                <a:gd name="csY92" fmla="*/ 208989 h 729527"/>
                <a:gd name="csX93" fmla="*/ 621641 w 1725996"/>
                <a:gd name="csY93" fmla="*/ 214303 h 729527"/>
                <a:gd name="csX94" fmla="*/ 644009 w 1725996"/>
                <a:gd name="csY94" fmla="*/ 225990 h 729527"/>
                <a:gd name="csX95" fmla="*/ 644004 w 1725996"/>
                <a:gd name="csY95" fmla="*/ 225990 h 729527"/>
                <a:gd name="csX96" fmla="*/ 665645 w 1725996"/>
                <a:gd name="csY96" fmla="*/ 279165 h 729527"/>
                <a:gd name="csX97" fmla="*/ 653516 w 1725996"/>
                <a:gd name="csY97" fmla="*/ 452921 h 729527"/>
                <a:gd name="csX98" fmla="*/ 629687 w 1725996"/>
                <a:gd name="csY98" fmla="*/ 492969 h 729527"/>
                <a:gd name="csX99" fmla="*/ 640984 w 1725996"/>
                <a:gd name="csY99" fmla="*/ 532322 h 729527"/>
                <a:gd name="csX100" fmla="*/ 639390 w 1725996"/>
                <a:gd name="csY100" fmla="*/ 570566 h 729527"/>
                <a:gd name="csX101" fmla="*/ 579599 w 1725996"/>
                <a:gd name="csY101" fmla="*/ 609859 h 729527"/>
                <a:gd name="csX102" fmla="*/ 561304 w 1725996"/>
                <a:gd name="csY102" fmla="*/ 677552 h 729527"/>
                <a:gd name="csX103" fmla="*/ 516815 w 1725996"/>
                <a:gd name="csY103" fmla="*/ 729459 h 729527"/>
                <a:gd name="csX104" fmla="*/ 516130 w 1725996"/>
                <a:gd name="csY104" fmla="*/ 729527 h 729527"/>
                <a:gd name="csX105" fmla="*/ 515445 w 1725996"/>
                <a:gd name="csY105" fmla="*/ 729459 h 729527"/>
                <a:gd name="csX106" fmla="*/ 470956 w 1725996"/>
                <a:gd name="csY106" fmla="*/ 677552 h 729527"/>
                <a:gd name="csX107" fmla="*/ 452661 w 1725996"/>
                <a:gd name="csY107" fmla="*/ 609859 h 729527"/>
                <a:gd name="csX108" fmla="*/ 392870 w 1725996"/>
                <a:gd name="csY108" fmla="*/ 570566 h 729527"/>
                <a:gd name="csX109" fmla="*/ 391275 w 1725996"/>
                <a:gd name="csY109" fmla="*/ 532322 h 729527"/>
                <a:gd name="csX110" fmla="*/ 402572 w 1725996"/>
                <a:gd name="csY110" fmla="*/ 492969 h 729527"/>
                <a:gd name="csX111" fmla="*/ 378744 w 1725996"/>
                <a:gd name="csY111" fmla="*/ 452921 h 729527"/>
                <a:gd name="csX112" fmla="*/ 366615 w 1725996"/>
                <a:gd name="csY112" fmla="*/ 279165 h 729527"/>
                <a:gd name="csX113" fmla="*/ 388256 w 1725996"/>
                <a:gd name="csY113" fmla="*/ 225990 h 729527"/>
                <a:gd name="csX114" fmla="*/ 410624 w 1725996"/>
                <a:gd name="csY114" fmla="*/ 214303 h 729527"/>
                <a:gd name="csX115" fmla="*/ 433291 w 1725996"/>
                <a:gd name="csY115" fmla="*/ 208989 h 729527"/>
                <a:gd name="csX116" fmla="*/ 66822 w 1725996"/>
                <a:gd name="csY116" fmla="*/ 208989 h 729527"/>
                <a:gd name="csX117" fmla="*/ 92349 w 1725996"/>
                <a:gd name="csY117" fmla="*/ 219523 h 729527"/>
                <a:gd name="csX118" fmla="*/ 128014 w 1725996"/>
                <a:gd name="csY118" fmla="*/ 266726 h 729527"/>
                <a:gd name="csX119" fmla="*/ 149663 w 1725996"/>
                <a:gd name="csY119" fmla="*/ 277526 h 729527"/>
                <a:gd name="csX120" fmla="*/ 171311 w 1725996"/>
                <a:gd name="csY120" fmla="*/ 266726 h 729527"/>
                <a:gd name="csX121" fmla="*/ 206976 w 1725996"/>
                <a:gd name="csY121" fmla="*/ 219523 h 729527"/>
                <a:gd name="csX122" fmla="*/ 232503 w 1725996"/>
                <a:gd name="csY122" fmla="*/ 208989 h 729527"/>
                <a:gd name="csX123" fmla="*/ 255172 w 1725996"/>
                <a:gd name="csY123" fmla="*/ 214303 h 729527"/>
                <a:gd name="csX124" fmla="*/ 277539 w 1725996"/>
                <a:gd name="csY124" fmla="*/ 225990 h 729527"/>
                <a:gd name="csX125" fmla="*/ 277534 w 1725996"/>
                <a:gd name="csY125" fmla="*/ 225990 h 729527"/>
                <a:gd name="csX126" fmla="*/ 299175 w 1725996"/>
                <a:gd name="csY126" fmla="*/ 279165 h 729527"/>
                <a:gd name="csX127" fmla="*/ 287046 w 1725996"/>
                <a:gd name="csY127" fmla="*/ 452921 h 729527"/>
                <a:gd name="csX128" fmla="*/ 263217 w 1725996"/>
                <a:gd name="csY128" fmla="*/ 492969 h 729527"/>
                <a:gd name="csX129" fmla="*/ 274515 w 1725996"/>
                <a:gd name="csY129" fmla="*/ 532322 h 729527"/>
                <a:gd name="csX130" fmla="*/ 272920 w 1725996"/>
                <a:gd name="csY130" fmla="*/ 570566 h 729527"/>
                <a:gd name="csX131" fmla="*/ 213129 w 1725996"/>
                <a:gd name="csY131" fmla="*/ 609859 h 729527"/>
                <a:gd name="csX132" fmla="*/ 194834 w 1725996"/>
                <a:gd name="csY132" fmla="*/ 677552 h 729527"/>
                <a:gd name="csX133" fmla="*/ 150345 w 1725996"/>
                <a:gd name="csY133" fmla="*/ 729459 h 729527"/>
                <a:gd name="csX134" fmla="*/ 149660 w 1725996"/>
                <a:gd name="csY134" fmla="*/ 729527 h 729527"/>
                <a:gd name="csX135" fmla="*/ 148975 w 1725996"/>
                <a:gd name="csY135" fmla="*/ 729459 h 729527"/>
                <a:gd name="csX136" fmla="*/ 104486 w 1725996"/>
                <a:gd name="csY136" fmla="*/ 677552 h 729527"/>
                <a:gd name="csX137" fmla="*/ 86191 w 1725996"/>
                <a:gd name="csY137" fmla="*/ 609859 h 729527"/>
                <a:gd name="csX138" fmla="*/ 26400 w 1725996"/>
                <a:gd name="csY138" fmla="*/ 570566 h 729527"/>
                <a:gd name="csX139" fmla="*/ 24805 w 1725996"/>
                <a:gd name="csY139" fmla="*/ 532322 h 729527"/>
                <a:gd name="csX140" fmla="*/ 36103 w 1725996"/>
                <a:gd name="csY140" fmla="*/ 492969 h 729527"/>
                <a:gd name="csX141" fmla="*/ 12274 w 1725996"/>
                <a:gd name="csY141" fmla="*/ 452921 h 729527"/>
                <a:gd name="csX142" fmla="*/ 145 w 1725996"/>
                <a:gd name="csY142" fmla="*/ 279165 h 729527"/>
                <a:gd name="csX143" fmla="*/ 21786 w 1725996"/>
                <a:gd name="csY143" fmla="*/ 225990 h 729527"/>
                <a:gd name="csX144" fmla="*/ 44154 w 1725996"/>
                <a:gd name="csY144" fmla="*/ 214303 h 729527"/>
                <a:gd name="csX145" fmla="*/ 66822 w 1725996"/>
                <a:gd name="csY145" fmla="*/ 208989 h 729527"/>
                <a:gd name="csX146" fmla="*/ 1621453 w 1725996"/>
                <a:gd name="csY146" fmla="*/ 0 h 729527"/>
                <a:gd name="csX147" fmla="*/ 1710675 w 1725996"/>
                <a:gd name="csY147" fmla="*/ 89297 h 729527"/>
                <a:gd name="csX148" fmla="*/ 1621453 w 1725996"/>
                <a:gd name="csY148" fmla="*/ 178594 h 729527"/>
                <a:gd name="csX149" fmla="*/ 1532232 w 1725996"/>
                <a:gd name="csY149" fmla="*/ 89297 h 729527"/>
                <a:gd name="csX150" fmla="*/ 1621453 w 1725996"/>
                <a:gd name="csY150" fmla="*/ 0 h 729527"/>
                <a:gd name="csX151" fmla="*/ 1254984 w 1725996"/>
                <a:gd name="csY151" fmla="*/ 0 h 729527"/>
                <a:gd name="csX152" fmla="*/ 1344205 w 1725996"/>
                <a:gd name="csY152" fmla="*/ 89297 h 729527"/>
                <a:gd name="csX153" fmla="*/ 1254984 w 1725996"/>
                <a:gd name="csY153" fmla="*/ 178594 h 729527"/>
                <a:gd name="csX154" fmla="*/ 1165762 w 1725996"/>
                <a:gd name="csY154" fmla="*/ 89297 h 729527"/>
                <a:gd name="csX155" fmla="*/ 1254984 w 1725996"/>
                <a:gd name="csY155" fmla="*/ 0 h 729527"/>
                <a:gd name="csX156" fmla="*/ 888514 w 1725996"/>
                <a:gd name="csY156" fmla="*/ 0 h 729527"/>
                <a:gd name="csX157" fmla="*/ 977735 w 1725996"/>
                <a:gd name="csY157" fmla="*/ 89297 h 729527"/>
                <a:gd name="csX158" fmla="*/ 888514 w 1725996"/>
                <a:gd name="csY158" fmla="*/ 178594 h 729527"/>
                <a:gd name="csX159" fmla="*/ 799292 w 1725996"/>
                <a:gd name="csY159" fmla="*/ 89297 h 729527"/>
                <a:gd name="csX160" fmla="*/ 888514 w 1725996"/>
                <a:gd name="csY160" fmla="*/ 0 h 729527"/>
                <a:gd name="csX161" fmla="*/ 522043 w 1725996"/>
                <a:gd name="csY161" fmla="*/ 0 h 729527"/>
                <a:gd name="csX162" fmla="*/ 611264 w 1725996"/>
                <a:gd name="csY162" fmla="*/ 89297 h 729527"/>
                <a:gd name="csX163" fmla="*/ 522043 w 1725996"/>
                <a:gd name="csY163" fmla="*/ 178594 h 729527"/>
                <a:gd name="csX164" fmla="*/ 432821 w 1725996"/>
                <a:gd name="csY164" fmla="*/ 89297 h 729527"/>
                <a:gd name="csX165" fmla="*/ 522043 w 1725996"/>
                <a:gd name="csY165" fmla="*/ 0 h 729527"/>
                <a:gd name="csX166" fmla="*/ 155573 w 1725996"/>
                <a:gd name="csY166" fmla="*/ 0 h 729527"/>
                <a:gd name="csX167" fmla="*/ 244794 w 1725996"/>
                <a:gd name="csY167" fmla="*/ 89297 h 729527"/>
                <a:gd name="csX168" fmla="*/ 155573 w 1725996"/>
                <a:gd name="csY168" fmla="*/ 178594 h 729527"/>
                <a:gd name="csX169" fmla="*/ 66351 w 1725996"/>
                <a:gd name="csY169" fmla="*/ 89297 h 729527"/>
                <a:gd name="csX170" fmla="*/ 155573 w 1725996"/>
                <a:gd name="csY170" fmla="*/ 0 h 72952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</a:cxnLst>
              <a:rect l="l" t="t" r="r" b="b"/>
              <a:pathLst>
                <a:path w="1725996" h="729527">
                  <a:moveTo>
                    <a:pt x="1532702" y="208989"/>
                  </a:moveTo>
                  <a:cubicBezTo>
                    <a:pt x="1542486" y="207557"/>
                    <a:pt x="1552267" y="211634"/>
                    <a:pt x="1558230" y="219523"/>
                  </a:cubicBezTo>
                  <a:lnTo>
                    <a:pt x="1593894" y="266726"/>
                  </a:lnTo>
                  <a:cubicBezTo>
                    <a:pt x="1599324" y="273911"/>
                    <a:pt x="1607429" y="277511"/>
                    <a:pt x="1615543" y="277526"/>
                  </a:cubicBezTo>
                  <a:cubicBezTo>
                    <a:pt x="1623654" y="277511"/>
                    <a:pt x="1631762" y="273911"/>
                    <a:pt x="1637192" y="266726"/>
                  </a:cubicBezTo>
                  <a:lnTo>
                    <a:pt x="1672856" y="219523"/>
                  </a:lnTo>
                  <a:cubicBezTo>
                    <a:pt x="1678819" y="211632"/>
                    <a:pt x="1688600" y="207554"/>
                    <a:pt x="1698384" y="208989"/>
                  </a:cubicBezTo>
                  <a:cubicBezTo>
                    <a:pt x="1706090" y="210118"/>
                    <a:pt x="1713639" y="211862"/>
                    <a:pt x="1721052" y="214303"/>
                  </a:cubicBezTo>
                  <a:lnTo>
                    <a:pt x="1725996" y="216886"/>
                  </a:lnTo>
                  <a:lnTo>
                    <a:pt x="1725996" y="585640"/>
                  </a:lnTo>
                  <a:lnTo>
                    <a:pt x="1716080" y="597313"/>
                  </a:lnTo>
                  <a:cubicBezTo>
                    <a:pt x="1705725" y="604102"/>
                    <a:pt x="1692978" y="608523"/>
                    <a:pt x="1679009" y="609859"/>
                  </a:cubicBezTo>
                  <a:cubicBezTo>
                    <a:pt x="1668724" y="634877"/>
                    <a:pt x="1663446" y="658224"/>
                    <a:pt x="1660715" y="677552"/>
                  </a:cubicBezTo>
                  <a:cubicBezTo>
                    <a:pt x="1660610" y="704559"/>
                    <a:pt x="1640564" y="726712"/>
                    <a:pt x="1616225" y="729459"/>
                  </a:cubicBezTo>
                  <a:cubicBezTo>
                    <a:pt x="1615998" y="729486"/>
                    <a:pt x="1615768" y="729504"/>
                    <a:pt x="1615540" y="729527"/>
                  </a:cubicBezTo>
                  <a:cubicBezTo>
                    <a:pt x="1615313" y="729504"/>
                    <a:pt x="1615083" y="729486"/>
                    <a:pt x="1614855" y="729459"/>
                  </a:cubicBezTo>
                  <a:cubicBezTo>
                    <a:pt x="1590517" y="726712"/>
                    <a:pt x="1570471" y="704559"/>
                    <a:pt x="1570366" y="677552"/>
                  </a:cubicBezTo>
                  <a:cubicBezTo>
                    <a:pt x="1567637" y="658222"/>
                    <a:pt x="1562357" y="634877"/>
                    <a:pt x="1552071" y="609859"/>
                  </a:cubicBezTo>
                  <a:cubicBezTo>
                    <a:pt x="1524134" y="607187"/>
                    <a:pt x="1501084" y="592173"/>
                    <a:pt x="1492280" y="570566"/>
                  </a:cubicBezTo>
                  <a:cubicBezTo>
                    <a:pt x="1485986" y="555121"/>
                    <a:pt x="1488574" y="540226"/>
                    <a:pt x="1490686" y="532322"/>
                  </a:cubicBezTo>
                  <a:lnTo>
                    <a:pt x="1501983" y="492969"/>
                  </a:lnTo>
                  <a:cubicBezTo>
                    <a:pt x="1488778" y="483865"/>
                    <a:pt x="1479699" y="469807"/>
                    <a:pt x="1478154" y="452921"/>
                  </a:cubicBezTo>
                  <a:cubicBezTo>
                    <a:pt x="1472856" y="394996"/>
                    <a:pt x="1469272" y="337255"/>
                    <a:pt x="1466026" y="279165"/>
                  </a:cubicBezTo>
                  <a:cubicBezTo>
                    <a:pt x="1464847" y="258060"/>
                    <a:pt x="1470697" y="238963"/>
                    <a:pt x="1487667" y="225990"/>
                  </a:cubicBezTo>
                  <a:cubicBezTo>
                    <a:pt x="1494502" y="220788"/>
                    <a:pt x="1501855" y="217233"/>
                    <a:pt x="1510034" y="214303"/>
                  </a:cubicBezTo>
                  <a:cubicBezTo>
                    <a:pt x="1517447" y="211864"/>
                    <a:pt x="1524999" y="210118"/>
                    <a:pt x="1532702" y="208989"/>
                  </a:cubicBezTo>
                  <a:close/>
                  <a:moveTo>
                    <a:pt x="1166233" y="208989"/>
                  </a:moveTo>
                  <a:cubicBezTo>
                    <a:pt x="1176017" y="207557"/>
                    <a:pt x="1185798" y="211634"/>
                    <a:pt x="1191760" y="219523"/>
                  </a:cubicBezTo>
                  <a:lnTo>
                    <a:pt x="1227425" y="266726"/>
                  </a:lnTo>
                  <a:cubicBezTo>
                    <a:pt x="1232854" y="273911"/>
                    <a:pt x="1240959" y="277511"/>
                    <a:pt x="1249073" y="277526"/>
                  </a:cubicBezTo>
                  <a:cubicBezTo>
                    <a:pt x="1257185" y="277511"/>
                    <a:pt x="1265293" y="273911"/>
                    <a:pt x="1270722" y="266726"/>
                  </a:cubicBezTo>
                  <a:lnTo>
                    <a:pt x="1306387" y="219523"/>
                  </a:lnTo>
                  <a:cubicBezTo>
                    <a:pt x="1312349" y="211632"/>
                    <a:pt x="1322130" y="207554"/>
                    <a:pt x="1331914" y="208989"/>
                  </a:cubicBezTo>
                  <a:cubicBezTo>
                    <a:pt x="1339620" y="210118"/>
                    <a:pt x="1347169" y="211862"/>
                    <a:pt x="1354583" y="214303"/>
                  </a:cubicBezTo>
                  <a:cubicBezTo>
                    <a:pt x="1362764" y="217233"/>
                    <a:pt x="1370114" y="220788"/>
                    <a:pt x="1376949" y="225990"/>
                  </a:cubicBezTo>
                  <a:lnTo>
                    <a:pt x="1376944" y="225990"/>
                  </a:lnTo>
                  <a:cubicBezTo>
                    <a:pt x="1393914" y="238963"/>
                    <a:pt x="1399764" y="258063"/>
                    <a:pt x="1398585" y="279165"/>
                  </a:cubicBezTo>
                  <a:cubicBezTo>
                    <a:pt x="1395338" y="337257"/>
                    <a:pt x="1391755" y="394996"/>
                    <a:pt x="1386456" y="452921"/>
                  </a:cubicBezTo>
                  <a:cubicBezTo>
                    <a:pt x="1384911" y="469807"/>
                    <a:pt x="1375833" y="483865"/>
                    <a:pt x="1362628" y="492969"/>
                  </a:cubicBezTo>
                  <a:lnTo>
                    <a:pt x="1373925" y="532322"/>
                  </a:lnTo>
                  <a:cubicBezTo>
                    <a:pt x="1376040" y="540224"/>
                    <a:pt x="1378625" y="555118"/>
                    <a:pt x="1372331" y="570566"/>
                  </a:cubicBezTo>
                  <a:cubicBezTo>
                    <a:pt x="1363527" y="592173"/>
                    <a:pt x="1340478" y="607187"/>
                    <a:pt x="1312540" y="609859"/>
                  </a:cubicBezTo>
                  <a:cubicBezTo>
                    <a:pt x="1302254" y="634877"/>
                    <a:pt x="1296977" y="658224"/>
                    <a:pt x="1294245" y="677552"/>
                  </a:cubicBezTo>
                  <a:cubicBezTo>
                    <a:pt x="1294140" y="704559"/>
                    <a:pt x="1274094" y="726712"/>
                    <a:pt x="1249756" y="729459"/>
                  </a:cubicBezTo>
                  <a:cubicBezTo>
                    <a:pt x="1249528" y="729486"/>
                    <a:pt x="1249298" y="729504"/>
                    <a:pt x="1249071" y="729527"/>
                  </a:cubicBezTo>
                  <a:cubicBezTo>
                    <a:pt x="1248843" y="729504"/>
                    <a:pt x="1248613" y="729486"/>
                    <a:pt x="1248386" y="729459"/>
                  </a:cubicBezTo>
                  <a:cubicBezTo>
                    <a:pt x="1224048" y="726712"/>
                    <a:pt x="1204001" y="704559"/>
                    <a:pt x="1203897" y="677552"/>
                  </a:cubicBezTo>
                  <a:cubicBezTo>
                    <a:pt x="1201167" y="658222"/>
                    <a:pt x="1195888" y="634877"/>
                    <a:pt x="1185602" y="609859"/>
                  </a:cubicBezTo>
                  <a:cubicBezTo>
                    <a:pt x="1157664" y="607187"/>
                    <a:pt x="1134614" y="592173"/>
                    <a:pt x="1125811" y="570566"/>
                  </a:cubicBezTo>
                  <a:cubicBezTo>
                    <a:pt x="1119516" y="555121"/>
                    <a:pt x="1122104" y="540226"/>
                    <a:pt x="1124216" y="532322"/>
                  </a:cubicBezTo>
                  <a:lnTo>
                    <a:pt x="1135514" y="492969"/>
                  </a:lnTo>
                  <a:cubicBezTo>
                    <a:pt x="1122308" y="483865"/>
                    <a:pt x="1113230" y="469807"/>
                    <a:pt x="1111685" y="452921"/>
                  </a:cubicBezTo>
                  <a:cubicBezTo>
                    <a:pt x="1106386" y="394996"/>
                    <a:pt x="1102803" y="337255"/>
                    <a:pt x="1099556" y="279165"/>
                  </a:cubicBezTo>
                  <a:cubicBezTo>
                    <a:pt x="1098377" y="258060"/>
                    <a:pt x="1104227" y="238963"/>
                    <a:pt x="1121197" y="225990"/>
                  </a:cubicBezTo>
                  <a:cubicBezTo>
                    <a:pt x="1128032" y="220788"/>
                    <a:pt x="1135385" y="217233"/>
                    <a:pt x="1143565" y="214303"/>
                  </a:cubicBezTo>
                  <a:cubicBezTo>
                    <a:pt x="1150978" y="211864"/>
                    <a:pt x="1158529" y="210118"/>
                    <a:pt x="1166233" y="208989"/>
                  </a:cubicBezTo>
                  <a:close/>
                  <a:moveTo>
                    <a:pt x="799762" y="208989"/>
                  </a:moveTo>
                  <a:cubicBezTo>
                    <a:pt x="809546" y="207557"/>
                    <a:pt x="819328" y="211634"/>
                    <a:pt x="825290" y="219523"/>
                  </a:cubicBezTo>
                  <a:lnTo>
                    <a:pt x="860955" y="266726"/>
                  </a:lnTo>
                  <a:cubicBezTo>
                    <a:pt x="866384" y="273911"/>
                    <a:pt x="874490" y="277511"/>
                    <a:pt x="882603" y="277526"/>
                  </a:cubicBezTo>
                  <a:cubicBezTo>
                    <a:pt x="890715" y="277511"/>
                    <a:pt x="898823" y="273911"/>
                    <a:pt x="904252" y="266726"/>
                  </a:cubicBezTo>
                  <a:lnTo>
                    <a:pt x="939916" y="219523"/>
                  </a:lnTo>
                  <a:cubicBezTo>
                    <a:pt x="945879" y="211632"/>
                    <a:pt x="955660" y="207554"/>
                    <a:pt x="965444" y="208989"/>
                  </a:cubicBezTo>
                  <a:cubicBezTo>
                    <a:pt x="973150" y="210118"/>
                    <a:pt x="980699" y="211862"/>
                    <a:pt x="988112" y="214303"/>
                  </a:cubicBezTo>
                  <a:cubicBezTo>
                    <a:pt x="996294" y="217233"/>
                    <a:pt x="1003644" y="220788"/>
                    <a:pt x="1010480" y="225990"/>
                  </a:cubicBezTo>
                  <a:lnTo>
                    <a:pt x="1010475" y="225990"/>
                  </a:lnTo>
                  <a:cubicBezTo>
                    <a:pt x="1027444" y="238963"/>
                    <a:pt x="1033294" y="258063"/>
                    <a:pt x="1032116" y="279165"/>
                  </a:cubicBezTo>
                  <a:cubicBezTo>
                    <a:pt x="1028869" y="337257"/>
                    <a:pt x="1025285" y="394996"/>
                    <a:pt x="1019987" y="452921"/>
                  </a:cubicBezTo>
                  <a:cubicBezTo>
                    <a:pt x="1018442" y="469807"/>
                    <a:pt x="1009364" y="483865"/>
                    <a:pt x="996158" y="492969"/>
                  </a:cubicBezTo>
                  <a:lnTo>
                    <a:pt x="1007456" y="532322"/>
                  </a:lnTo>
                  <a:cubicBezTo>
                    <a:pt x="1009570" y="540224"/>
                    <a:pt x="1012155" y="555118"/>
                    <a:pt x="1005861" y="570566"/>
                  </a:cubicBezTo>
                  <a:cubicBezTo>
                    <a:pt x="997057" y="592173"/>
                    <a:pt x="974007" y="607187"/>
                    <a:pt x="946070" y="609859"/>
                  </a:cubicBezTo>
                  <a:cubicBezTo>
                    <a:pt x="935784" y="634877"/>
                    <a:pt x="930506" y="658224"/>
                    <a:pt x="927775" y="677552"/>
                  </a:cubicBezTo>
                  <a:cubicBezTo>
                    <a:pt x="927670" y="704559"/>
                    <a:pt x="907624" y="726712"/>
                    <a:pt x="883286" y="729459"/>
                  </a:cubicBezTo>
                  <a:cubicBezTo>
                    <a:pt x="883058" y="729486"/>
                    <a:pt x="882828" y="729504"/>
                    <a:pt x="882601" y="729527"/>
                  </a:cubicBezTo>
                  <a:cubicBezTo>
                    <a:pt x="882373" y="729504"/>
                    <a:pt x="882143" y="729486"/>
                    <a:pt x="881916" y="729459"/>
                  </a:cubicBezTo>
                  <a:cubicBezTo>
                    <a:pt x="857578" y="726712"/>
                    <a:pt x="837531" y="704559"/>
                    <a:pt x="837427" y="677552"/>
                  </a:cubicBezTo>
                  <a:cubicBezTo>
                    <a:pt x="834698" y="658222"/>
                    <a:pt x="829418" y="634877"/>
                    <a:pt x="819132" y="609859"/>
                  </a:cubicBezTo>
                  <a:cubicBezTo>
                    <a:pt x="791194" y="607187"/>
                    <a:pt x="768144" y="592173"/>
                    <a:pt x="759340" y="570566"/>
                  </a:cubicBezTo>
                  <a:cubicBezTo>
                    <a:pt x="753046" y="555121"/>
                    <a:pt x="755634" y="540226"/>
                    <a:pt x="757746" y="532322"/>
                  </a:cubicBezTo>
                  <a:lnTo>
                    <a:pt x="769043" y="492969"/>
                  </a:lnTo>
                  <a:cubicBezTo>
                    <a:pt x="755838" y="483865"/>
                    <a:pt x="746759" y="469807"/>
                    <a:pt x="745215" y="452921"/>
                  </a:cubicBezTo>
                  <a:cubicBezTo>
                    <a:pt x="739917" y="394996"/>
                    <a:pt x="736333" y="337255"/>
                    <a:pt x="733086" y="279165"/>
                  </a:cubicBezTo>
                  <a:cubicBezTo>
                    <a:pt x="731907" y="258060"/>
                    <a:pt x="737757" y="238963"/>
                    <a:pt x="754727" y="225990"/>
                  </a:cubicBezTo>
                  <a:cubicBezTo>
                    <a:pt x="761562" y="220788"/>
                    <a:pt x="768915" y="217233"/>
                    <a:pt x="777095" y="214303"/>
                  </a:cubicBezTo>
                  <a:cubicBezTo>
                    <a:pt x="784507" y="211864"/>
                    <a:pt x="792059" y="210118"/>
                    <a:pt x="799762" y="208989"/>
                  </a:cubicBezTo>
                  <a:close/>
                  <a:moveTo>
                    <a:pt x="433291" y="208989"/>
                  </a:moveTo>
                  <a:cubicBezTo>
                    <a:pt x="443075" y="207557"/>
                    <a:pt x="452857" y="211634"/>
                    <a:pt x="458819" y="219523"/>
                  </a:cubicBezTo>
                  <a:lnTo>
                    <a:pt x="494484" y="266726"/>
                  </a:lnTo>
                  <a:cubicBezTo>
                    <a:pt x="499913" y="273911"/>
                    <a:pt x="508019" y="277511"/>
                    <a:pt x="516132" y="277526"/>
                  </a:cubicBezTo>
                  <a:cubicBezTo>
                    <a:pt x="524244" y="277511"/>
                    <a:pt x="532352" y="273911"/>
                    <a:pt x="537781" y="266726"/>
                  </a:cubicBezTo>
                  <a:lnTo>
                    <a:pt x="573446" y="219523"/>
                  </a:lnTo>
                  <a:cubicBezTo>
                    <a:pt x="579408" y="211632"/>
                    <a:pt x="589189" y="207554"/>
                    <a:pt x="598973" y="208989"/>
                  </a:cubicBezTo>
                  <a:cubicBezTo>
                    <a:pt x="606679" y="210118"/>
                    <a:pt x="614228" y="211862"/>
                    <a:pt x="621641" y="214303"/>
                  </a:cubicBezTo>
                  <a:cubicBezTo>
                    <a:pt x="629823" y="217233"/>
                    <a:pt x="637174" y="220788"/>
                    <a:pt x="644009" y="225990"/>
                  </a:cubicBezTo>
                  <a:lnTo>
                    <a:pt x="644004" y="225990"/>
                  </a:lnTo>
                  <a:cubicBezTo>
                    <a:pt x="660973" y="238963"/>
                    <a:pt x="666823" y="258063"/>
                    <a:pt x="665645" y="279165"/>
                  </a:cubicBezTo>
                  <a:cubicBezTo>
                    <a:pt x="662398" y="337257"/>
                    <a:pt x="658814" y="394996"/>
                    <a:pt x="653516" y="452921"/>
                  </a:cubicBezTo>
                  <a:cubicBezTo>
                    <a:pt x="651971" y="469807"/>
                    <a:pt x="642893" y="483865"/>
                    <a:pt x="629687" y="492969"/>
                  </a:cubicBezTo>
                  <a:lnTo>
                    <a:pt x="640984" y="532322"/>
                  </a:lnTo>
                  <a:cubicBezTo>
                    <a:pt x="643099" y="540224"/>
                    <a:pt x="645684" y="555118"/>
                    <a:pt x="639390" y="570566"/>
                  </a:cubicBezTo>
                  <a:cubicBezTo>
                    <a:pt x="630586" y="592173"/>
                    <a:pt x="607536" y="607187"/>
                    <a:pt x="579599" y="609859"/>
                  </a:cubicBezTo>
                  <a:cubicBezTo>
                    <a:pt x="569313" y="634877"/>
                    <a:pt x="564035" y="658224"/>
                    <a:pt x="561304" y="677552"/>
                  </a:cubicBezTo>
                  <a:cubicBezTo>
                    <a:pt x="561200" y="704559"/>
                    <a:pt x="541153" y="726712"/>
                    <a:pt x="516815" y="729459"/>
                  </a:cubicBezTo>
                  <a:cubicBezTo>
                    <a:pt x="516587" y="729486"/>
                    <a:pt x="516357" y="729504"/>
                    <a:pt x="516130" y="729527"/>
                  </a:cubicBezTo>
                  <a:cubicBezTo>
                    <a:pt x="515902" y="729504"/>
                    <a:pt x="515672" y="729486"/>
                    <a:pt x="515445" y="729459"/>
                  </a:cubicBezTo>
                  <a:cubicBezTo>
                    <a:pt x="491107" y="726712"/>
                    <a:pt x="471060" y="704559"/>
                    <a:pt x="470956" y="677552"/>
                  </a:cubicBezTo>
                  <a:cubicBezTo>
                    <a:pt x="468227" y="658222"/>
                    <a:pt x="462947" y="634877"/>
                    <a:pt x="452661" y="609859"/>
                  </a:cubicBezTo>
                  <a:cubicBezTo>
                    <a:pt x="424723" y="607187"/>
                    <a:pt x="401673" y="592173"/>
                    <a:pt x="392870" y="570566"/>
                  </a:cubicBezTo>
                  <a:cubicBezTo>
                    <a:pt x="386575" y="555121"/>
                    <a:pt x="389163" y="540226"/>
                    <a:pt x="391275" y="532322"/>
                  </a:cubicBezTo>
                  <a:lnTo>
                    <a:pt x="402572" y="492969"/>
                  </a:lnTo>
                  <a:cubicBezTo>
                    <a:pt x="389367" y="483865"/>
                    <a:pt x="380289" y="469807"/>
                    <a:pt x="378744" y="452921"/>
                  </a:cubicBezTo>
                  <a:cubicBezTo>
                    <a:pt x="373446" y="394996"/>
                    <a:pt x="369862" y="337255"/>
                    <a:pt x="366615" y="279165"/>
                  </a:cubicBezTo>
                  <a:cubicBezTo>
                    <a:pt x="365436" y="258060"/>
                    <a:pt x="371286" y="238963"/>
                    <a:pt x="388256" y="225990"/>
                  </a:cubicBezTo>
                  <a:cubicBezTo>
                    <a:pt x="395091" y="220788"/>
                    <a:pt x="402445" y="217233"/>
                    <a:pt x="410624" y="214303"/>
                  </a:cubicBezTo>
                  <a:cubicBezTo>
                    <a:pt x="418037" y="211864"/>
                    <a:pt x="425588" y="210118"/>
                    <a:pt x="433291" y="208989"/>
                  </a:cubicBezTo>
                  <a:close/>
                  <a:moveTo>
                    <a:pt x="66822" y="208989"/>
                  </a:moveTo>
                  <a:cubicBezTo>
                    <a:pt x="76606" y="207557"/>
                    <a:pt x="86387" y="211634"/>
                    <a:pt x="92349" y="219523"/>
                  </a:cubicBezTo>
                  <a:lnTo>
                    <a:pt x="128014" y="266726"/>
                  </a:lnTo>
                  <a:cubicBezTo>
                    <a:pt x="133443" y="273911"/>
                    <a:pt x="141549" y="277511"/>
                    <a:pt x="149663" y="277526"/>
                  </a:cubicBezTo>
                  <a:cubicBezTo>
                    <a:pt x="157774" y="277511"/>
                    <a:pt x="165882" y="273911"/>
                    <a:pt x="171311" y="266726"/>
                  </a:cubicBezTo>
                  <a:lnTo>
                    <a:pt x="206976" y="219523"/>
                  </a:lnTo>
                  <a:cubicBezTo>
                    <a:pt x="212938" y="211632"/>
                    <a:pt x="222719" y="207554"/>
                    <a:pt x="232503" y="208989"/>
                  </a:cubicBezTo>
                  <a:cubicBezTo>
                    <a:pt x="240210" y="210118"/>
                    <a:pt x="247758" y="211862"/>
                    <a:pt x="255172" y="214303"/>
                  </a:cubicBezTo>
                  <a:cubicBezTo>
                    <a:pt x="263353" y="217233"/>
                    <a:pt x="270704" y="220788"/>
                    <a:pt x="277539" y="225990"/>
                  </a:cubicBezTo>
                  <a:lnTo>
                    <a:pt x="277534" y="225990"/>
                  </a:lnTo>
                  <a:cubicBezTo>
                    <a:pt x="294503" y="238963"/>
                    <a:pt x="300353" y="258063"/>
                    <a:pt x="299175" y="279165"/>
                  </a:cubicBezTo>
                  <a:cubicBezTo>
                    <a:pt x="295928" y="337257"/>
                    <a:pt x="292344" y="394996"/>
                    <a:pt x="287046" y="452921"/>
                  </a:cubicBezTo>
                  <a:cubicBezTo>
                    <a:pt x="285501" y="469807"/>
                    <a:pt x="276423" y="483865"/>
                    <a:pt x="263217" y="492969"/>
                  </a:cubicBezTo>
                  <a:lnTo>
                    <a:pt x="274515" y="532322"/>
                  </a:lnTo>
                  <a:cubicBezTo>
                    <a:pt x="276629" y="540224"/>
                    <a:pt x="279215" y="555118"/>
                    <a:pt x="272920" y="570566"/>
                  </a:cubicBezTo>
                  <a:cubicBezTo>
                    <a:pt x="264116" y="592173"/>
                    <a:pt x="241067" y="607187"/>
                    <a:pt x="213129" y="609859"/>
                  </a:cubicBezTo>
                  <a:cubicBezTo>
                    <a:pt x="202843" y="634877"/>
                    <a:pt x="197566" y="658224"/>
                    <a:pt x="194834" y="677552"/>
                  </a:cubicBezTo>
                  <a:cubicBezTo>
                    <a:pt x="194730" y="704559"/>
                    <a:pt x="174683" y="726712"/>
                    <a:pt x="150345" y="729459"/>
                  </a:cubicBezTo>
                  <a:cubicBezTo>
                    <a:pt x="150118" y="729486"/>
                    <a:pt x="149887" y="729504"/>
                    <a:pt x="149660" y="729527"/>
                  </a:cubicBezTo>
                  <a:cubicBezTo>
                    <a:pt x="149433" y="729504"/>
                    <a:pt x="149203" y="729486"/>
                    <a:pt x="148975" y="729459"/>
                  </a:cubicBezTo>
                  <a:cubicBezTo>
                    <a:pt x="124637" y="726712"/>
                    <a:pt x="104591" y="704559"/>
                    <a:pt x="104486" y="677552"/>
                  </a:cubicBezTo>
                  <a:cubicBezTo>
                    <a:pt x="101757" y="658222"/>
                    <a:pt x="96477" y="634877"/>
                    <a:pt x="86191" y="609859"/>
                  </a:cubicBezTo>
                  <a:cubicBezTo>
                    <a:pt x="58253" y="607187"/>
                    <a:pt x="35204" y="592173"/>
                    <a:pt x="26400" y="570566"/>
                  </a:cubicBezTo>
                  <a:cubicBezTo>
                    <a:pt x="20106" y="555121"/>
                    <a:pt x="22693" y="540226"/>
                    <a:pt x="24805" y="532322"/>
                  </a:cubicBezTo>
                  <a:lnTo>
                    <a:pt x="36103" y="492969"/>
                  </a:lnTo>
                  <a:cubicBezTo>
                    <a:pt x="22897" y="483865"/>
                    <a:pt x="13819" y="469807"/>
                    <a:pt x="12274" y="452921"/>
                  </a:cubicBezTo>
                  <a:cubicBezTo>
                    <a:pt x="6976" y="394996"/>
                    <a:pt x="3392" y="337255"/>
                    <a:pt x="145" y="279165"/>
                  </a:cubicBezTo>
                  <a:cubicBezTo>
                    <a:pt x="-1033" y="258060"/>
                    <a:pt x="4817" y="238963"/>
                    <a:pt x="21786" y="225990"/>
                  </a:cubicBezTo>
                  <a:cubicBezTo>
                    <a:pt x="28622" y="220788"/>
                    <a:pt x="35975" y="217233"/>
                    <a:pt x="44154" y="214303"/>
                  </a:cubicBezTo>
                  <a:cubicBezTo>
                    <a:pt x="51567" y="211864"/>
                    <a:pt x="59118" y="210118"/>
                    <a:pt x="66822" y="208989"/>
                  </a:cubicBezTo>
                  <a:close/>
                  <a:moveTo>
                    <a:pt x="1621453" y="0"/>
                  </a:moveTo>
                  <a:cubicBezTo>
                    <a:pt x="1670729" y="0"/>
                    <a:pt x="1710675" y="39980"/>
                    <a:pt x="1710675" y="89297"/>
                  </a:cubicBezTo>
                  <a:cubicBezTo>
                    <a:pt x="1710675" y="138615"/>
                    <a:pt x="1670729" y="178594"/>
                    <a:pt x="1621453" y="178594"/>
                  </a:cubicBezTo>
                  <a:cubicBezTo>
                    <a:pt x="1572178" y="178594"/>
                    <a:pt x="1532232" y="138615"/>
                    <a:pt x="1532232" y="89297"/>
                  </a:cubicBezTo>
                  <a:cubicBezTo>
                    <a:pt x="1532232" y="39980"/>
                    <a:pt x="1572178" y="0"/>
                    <a:pt x="1621453" y="0"/>
                  </a:cubicBezTo>
                  <a:close/>
                  <a:moveTo>
                    <a:pt x="1254984" y="0"/>
                  </a:moveTo>
                  <a:cubicBezTo>
                    <a:pt x="1304259" y="0"/>
                    <a:pt x="1344205" y="39980"/>
                    <a:pt x="1344205" y="89297"/>
                  </a:cubicBezTo>
                  <a:cubicBezTo>
                    <a:pt x="1344205" y="138615"/>
                    <a:pt x="1304259" y="178594"/>
                    <a:pt x="1254984" y="178594"/>
                  </a:cubicBezTo>
                  <a:cubicBezTo>
                    <a:pt x="1205708" y="178594"/>
                    <a:pt x="1165762" y="138615"/>
                    <a:pt x="1165762" y="89297"/>
                  </a:cubicBezTo>
                  <a:cubicBezTo>
                    <a:pt x="1165762" y="39980"/>
                    <a:pt x="1205708" y="0"/>
                    <a:pt x="1254984" y="0"/>
                  </a:cubicBezTo>
                  <a:close/>
                  <a:moveTo>
                    <a:pt x="888514" y="0"/>
                  </a:moveTo>
                  <a:cubicBezTo>
                    <a:pt x="937789" y="0"/>
                    <a:pt x="977735" y="39980"/>
                    <a:pt x="977735" y="89297"/>
                  </a:cubicBezTo>
                  <a:cubicBezTo>
                    <a:pt x="977735" y="138615"/>
                    <a:pt x="937789" y="178594"/>
                    <a:pt x="888514" y="178594"/>
                  </a:cubicBezTo>
                  <a:cubicBezTo>
                    <a:pt x="839238" y="178594"/>
                    <a:pt x="799292" y="138615"/>
                    <a:pt x="799292" y="89297"/>
                  </a:cubicBezTo>
                  <a:cubicBezTo>
                    <a:pt x="799292" y="39980"/>
                    <a:pt x="839238" y="0"/>
                    <a:pt x="888514" y="0"/>
                  </a:cubicBezTo>
                  <a:close/>
                  <a:moveTo>
                    <a:pt x="522043" y="0"/>
                  </a:moveTo>
                  <a:cubicBezTo>
                    <a:pt x="571318" y="0"/>
                    <a:pt x="611264" y="39980"/>
                    <a:pt x="611264" y="89297"/>
                  </a:cubicBezTo>
                  <a:cubicBezTo>
                    <a:pt x="611264" y="138615"/>
                    <a:pt x="571318" y="178594"/>
                    <a:pt x="522043" y="178594"/>
                  </a:cubicBezTo>
                  <a:cubicBezTo>
                    <a:pt x="472767" y="178594"/>
                    <a:pt x="432821" y="138615"/>
                    <a:pt x="432821" y="89297"/>
                  </a:cubicBezTo>
                  <a:cubicBezTo>
                    <a:pt x="432821" y="39980"/>
                    <a:pt x="472767" y="0"/>
                    <a:pt x="522043" y="0"/>
                  </a:cubicBezTo>
                  <a:close/>
                  <a:moveTo>
                    <a:pt x="155573" y="0"/>
                  </a:moveTo>
                  <a:cubicBezTo>
                    <a:pt x="204848" y="0"/>
                    <a:pt x="244794" y="39980"/>
                    <a:pt x="244794" y="89297"/>
                  </a:cubicBezTo>
                  <a:cubicBezTo>
                    <a:pt x="244794" y="138615"/>
                    <a:pt x="204848" y="178594"/>
                    <a:pt x="155573" y="178594"/>
                  </a:cubicBezTo>
                  <a:cubicBezTo>
                    <a:pt x="106297" y="178594"/>
                    <a:pt x="66351" y="138615"/>
                    <a:pt x="66351" y="89297"/>
                  </a:cubicBezTo>
                  <a:cubicBezTo>
                    <a:pt x="66351" y="39980"/>
                    <a:pt x="106297" y="0"/>
                    <a:pt x="155573" y="0"/>
                  </a:cubicBezTo>
                  <a:close/>
                </a:path>
              </a:pathLst>
            </a:custGeom>
            <a:gradFill>
              <a:gsLst>
                <a:gs pos="4000">
                  <a:schemeClr val="accent3"/>
                </a:gs>
                <a:gs pos="83000">
                  <a:schemeClr val="accent3">
                    <a:lumMod val="75000"/>
                  </a:schemeClr>
                </a:gs>
              </a:gsLst>
              <a:lin ang="0" scaled="1"/>
            </a:gradFill>
            <a:ln w="529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fr-FR" dirty="0"/>
            </a:p>
          </p:txBody>
        </p:sp>
      </p:grpSp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9FC09A66-3E74-48DC-6027-6F3BB5C0D082}"/>
              </a:ext>
            </a:extLst>
          </p:cNvPr>
          <p:cNvCxnSpPr>
            <a:cxnSpLocks/>
          </p:cNvCxnSpPr>
          <p:nvPr/>
        </p:nvCxnSpPr>
        <p:spPr>
          <a:xfrm>
            <a:off x="555369" y="2211710"/>
            <a:ext cx="2951869" cy="0"/>
          </a:xfrm>
          <a:prstGeom prst="line">
            <a:avLst/>
          </a:prstGeom>
          <a:ln w="412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3" name="Graphic 302">
            <a:extLst>
              <a:ext uri="{FF2B5EF4-FFF2-40B4-BE49-F238E27FC236}">
                <a16:creationId xmlns:a16="http://schemas.microsoft.com/office/drawing/2014/main" id="{DDDA371D-3663-F80D-CB35-7E8CCE50168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0481" y="2742353"/>
            <a:ext cx="126278" cy="12627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DB86DBA-CF21-F091-EA50-D2DA9B8DD76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67321" y="2742353"/>
            <a:ext cx="126278" cy="126278"/>
          </a:xfrm>
          <a:prstGeom prst="rect">
            <a:avLst/>
          </a:prstGeom>
        </p:spPr>
      </p:pic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805D328C-9AFC-4F7D-DD0F-11186F6FDB90}"/>
              </a:ext>
            </a:extLst>
          </p:cNvPr>
          <p:cNvCxnSpPr>
            <a:cxnSpLocks/>
          </p:cNvCxnSpPr>
          <p:nvPr/>
        </p:nvCxnSpPr>
        <p:spPr>
          <a:xfrm>
            <a:off x="6545561" y="2303761"/>
            <a:ext cx="0" cy="1420117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BC0121F-6072-5ADE-ACB7-A6F2F2CE3281}"/>
              </a:ext>
            </a:extLst>
          </p:cNvPr>
          <p:cNvSpPr txBox="1">
            <a:spLocks/>
          </p:cNvSpPr>
          <p:nvPr/>
        </p:nvSpPr>
        <p:spPr>
          <a:xfrm>
            <a:off x="5263083" y="1431735"/>
            <a:ext cx="253087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ÂGE MOYE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DB3A9-47C8-FEF8-8DCB-61F464D3923A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6CAC2A-A1ED-DA1B-3666-E2B425FE8AAE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37686363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4E7C8-4EB9-EE9C-0C3F-BCAA68871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BDB32BEA-3F55-1CA5-5C3C-C3AEB449D2D0}"/>
              </a:ext>
            </a:extLst>
          </p:cNvPr>
          <p:cNvSpPr>
            <a:spLocks/>
          </p:cNvSpPr>
          <p:nvPr/>
        </p:nvSpPr>
        <p:spPr>
          <a:xfrm>
            <a:off x="4670681" y="1191168"/>
            <a:ext cx="3749760" cy="3003122"/>
          </a:xfrm>
          <a:prstGeom prst="roundRect">
            <a:avLst>
              <a:gd name="adj" fmla="val 4075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E464B5-6462-7A45-B108-F5F986517D25}"/>
              </a:ext>
            </a:extLst>
          </p:cNvPr>
          <p:cNvSpPr txBox="1">
            <a:spLocks/>
          </p:cNvSpPr>
          <p:nvPr/>
        </p:nvSpPr>
        <p:spPr>
          <a:xfrm>
            <a:off x="539551" y="508050"/>
            <a:ext cx="7874471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Profil des alternants </a:t>
            </a:r>
            <a:r>
              <a:rPr lang="fr-FR" sz="3200" noProof="1">
                <a:solidFill>
                  <a:schemeClr val="accent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en 2025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1C43F39-4A15-10FC-5FA1-6D6405E7491D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1C8A578-BCD5-49F8-1BDF-914ECF6D8CB9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0890C41-6BC2-1B0C-7C3B-5FF1B820046B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1D283841-80B8-F140-4755-04250D3C48DB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46675A7E-D2C2-7BB7-CA5F-BA6CF37C69C6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BF92B3E5-5CEC-3E72-406C-853FE1C8EFFE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F9B163CE-7D85-6427-84F8-722D0E2C8B74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F4206596-63EF-3BA7-6A9A-4F1BCE85B6A2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B65D0257-D468-287F-EFB1-CE3F70FC6C92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C5CF6EB7-2B71-7553-BC05-B90F123BDEB4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8E312172-1E5C-52D0-1426-999A7F25302E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165CABD7-9A3E-46D1-CC26-7B9505AD3ACE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8A15B841-F225-BE3F-3A74-4CF0AB51F76C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72CA2920-F989-81A8-8977-388AE043B1AB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B5804936-3EF1-A76C-6B9B-DABBD6F82972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AD712B9F-CB06-BB94-DA37-6D898323C203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67726057-D91E-190A-CE0E-64008BF5FC64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84A8E4C1-2C55-FF00-2C69-AF6913A8B2E7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25D7A16E-6844-D15E-C64D-73A46777EF1B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90637655-9308-4B30-5FD5-432BDB6D2682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1622DDBD-692F-8691-262F-CB366831A4B7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B059C72A-7737-05C1-B4E5-79FA5CDC9E46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7B212944-54EE-919F-D49B-2120252176A0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975C6DD8-A142-21CA-E637-3467F93006A4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B8D11579-8F7E-E746-9B5B-01226E08A30C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7626FE8A-F2F6-C50C-A989-49400E02FF2E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D21DD329-0F13-02AC-3C96-86DE37E758D9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37CF1D37-5275-BC31-F5C3-C4D53690C0BC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0D4B547-F032-2715-B9D0-BBEFB13C0539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3AE33832-3301-DD9A-B54D-E16D82ECB570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F76FBDF4-DB51-02AD-C254-91C1BFEE6840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D6148F6B-7F1A-9460-F770-4A865CA29CC9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B5AF9A1C-057D-ABCE-034B-9E0527C43AE5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EDBAED30-4023-D0FF-446C-8973C4D1FB47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E2A500BF-2054-48F0-0779-62A7F64E73DE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62A8D43C-0F37-5DB9-C4E5-3B8FE307BFCC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B2FDDFCC-B875-271C-35E8-7C72AB9B4AEA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32B5CA0B-617D-AF14-B6ED-EAB7FA959BA5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14D63357-CE00-50AA-17F8-05F8CE15F420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87287436-024B-44AC-EE34-35F7EB4B4F80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7DC59706-ED95-DEB7-2750-F5823E57E387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E43F9682-0B15-AF45-19C7-35D230709565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8F412150-8513-091C-8B0D-C7B817649898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BB0858B5-C28C-AD66-8477-ECD2B18B12B5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06CF15CD-01C2-EDF6-92B1-C0BA92668FB6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B44E5A71-0C2F-75EE-9A06-1BB96B9AB330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891EEDFF-D162-7B39-73AB-9DFAAB00E5E1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1BCA6D88-5440-0762-D36C-408E0F010B02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24F32F80-B773-8FDC-5BE3-9B65D3CA1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CEEC8CA9-98E0-D589-CA56-BBFCC13E19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1050734F-B43B-FCE3-2758-2B6E67458500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1979CCE8-EBD9-BB74-CA66-157F22846832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7E0713B5-814B-E9A0-CD55-0DCC6E1886B1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684CB08C-1B0F-1998-3B44-1255B6D9F3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2259E78B-0764-A4C8-5DBE-9C7239B8E8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21BA7E05-69ED-EB3B-F9A8-97D5B1F61F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D97F14FA-265B-EA48-2969-A17FF6BE4184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497394B4-0D66-3B25-ACAE-0AD8B1B0088F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0B8135F0-5E31-8FD4-B845-DA572576D413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7578F5A4-89D8-A06F-4383-779B112303B6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4AA7382A-CC4C-527F-2953-01C2E5C9B445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3090F3D5-9B5E-C837-E3EB-F35A1949BB2B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F25346EB-3C93-5F9B-BC0C-44D96079DB84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437B6C15-F431-F77A-6DE6-84C36DEDA52E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5311A29D-A3A4-4FBA-27B8-50149EB9DA86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7296D2BF-01A6-0675-E3B2-B727E48C3920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B21B0FEB-D4C7-D9BD-7362-A91C3E4D1353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4ED2B00B-FBE8-B369-72C4-7634D6518593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D37D8879-22EF-A2F0-8312-344DA042B857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C763D47B-3305-9C7C-F683-755C766E87D1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AEE7EE76-F490-5092-F593-100FE3A4D955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573EE7F2-7C72-3A74-1C5B-9EAB493EC330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1089E2F8-FFA7-55E0-B540-1B8DB54E3253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6CE8F000-0792-5699-178A-3CCB80F99F79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27986B9D-6ECD-2E9E-408A-C20132E6441C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29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119B2E6D-A3E9-C2EB-E246-A5F81AFB1BB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1B809337-C6C6-0B90-04AA-ECA8F93B636E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7C541E45-C925-2F12-91B1-3B21EBFCAC1C}"/>
              </a:ext>
            </a:extLst>
          </p:cNvPr>
          <p:cNvSpPr txBox="1">
            <a:spLocks/>
          </p:cNvSpPr>
          <p:nvPr/>
        </p:nvSpPr>
        <p:spPr>
          <a:xfrm>
            <a:off x="5001590" y="3347045"/>
            <a:ext cx="1320752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23 a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0EFC28E-297E-DC07-21F3-BD56BB29BAD4}"/>
              </a:ext>
            </a:extLst>
          </p:cNvPr>
          <p:cNvSpPr txBox="1">
            <a:spLocks/>
          </p:cNvSpPr>
          <p:nvPr/>
        </p:nvSpPr>
        <p:spPr>
          <a:xfrm>
            <a:off x="5088806" y="3047205"/>
            <a:ext cx="1146320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Contrat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’apprentissag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5E2B324-2449-F777-ED9D-047A10EBD111}"/>
              </a:ext>
            </a:extLst>
          </p:cNvPr>
          <p:cNvSpPr txBox="1">
            <a:spLocks/>
          </p:cNvSpPr>
          <p:nvPr/>
        </p:nvSpPr>
        <p:spPr>
          <a:xfrm>
            <a:off x="6748204" y="3347045"/>
            <a:ext cx="1320752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31 an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FA7CB4B-52BF-4283-32BB-00A274FD5CA3}"/>
              </a:ext>
            </a:extLst>
          </p:cNvPr>
          <p:cNvSpPr txBox="1">
            <a:spLocks/>
          </p:cNvSpPr>
          <p:nvPr/>
        </p:nvSpPr>
        <p:spPr>
          <a:xfrm>
            <a:off x="6835420" y="3047205"/>
            <a:ext cx="1146320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Contrat de</a:t>
            </a:r>
            <a:b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professionnalisa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2B0E50F-2526-F476-D487-62776FDE6F21}"/>
              </a:ext>
            </a:extLst>
          </p:cNvPr>
          <p:cNvSpPr txBox="1">
            <a:spLocks/>
          </p:cNvSpPr>
          <p:nvPr/>
        </p:nvSpPr>
        <p:spPr>
          <a:xfrm>
            <a:off x="5263083" y="1431735"/>
            <a:ext cx="253087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ÂGE MOYEN</a:t>
            </a:r>
          </a:p>
        </p:txBody>
      </p:sp>
      <p:sp>
        <p:nvSpPr>
          <p:cNvPr id="178" name="Freeform: Shape 177">
            <a:extLst>
              <a:ext uri="{FF2B5EF4-FFF2-40B4-BE49-F238E27FC236}">
                <a16:creationId xmlns:a16="http://schemas.microsoft.com/office/drawing/2014/main" id="{61C881FB-4411-A7A5-A6B9-6814664E4D00}"/>
              </a:ext>
            </a:extLst>
          </p:cNvPr>
          <p:cNvSpPr>
            <a:spLocks/>
          </p:cNvSpPr>
          <p:nvPr/>
        </p:nvSpPr>
        <p:spPr>
          <a:xfrm>
            <a:off x="5374571" y="2303761"/>
            <a:ext cx="457612" cy="617773"/>
          </a:xfrm>
          <a:custGeom>
            <a:avLst/>
            <a:gdLst>
              <a:gd name="csX0" fmla="*/ 189987 w 676111"/>
              <a:gd name="csY0" fmla="*/ 0 h 912748"/>
              <a:gd name="csX1" fmla="*/ 213969 w 676111"/>
              <a:gd name="csY1" fmla="*/ 0 h 912748"/>
              <a:gd name="csX2" fmla="*/ 640442 w 676111"/>
              <a:gd name="csY2" fmla="*/ 0 h 912748"/>
              <a:gd name="csX3" fmla="*/ 642305 w 676111"/>
              <a:gd name="csY3" fmla="*/ 0 h 912748"/>
              <a:gd name="csX4" fmla="*/ 676111 w 676111"/>
              <a:gd name="csY4" fmla="*/ 33805 h 912748"/>
              <a:gd name="csX5" fmla="*/ 676111 w 676111"/>
              <a:gd name="csY5" fmla="*/ 422569 h 912748"/>
              <a:gd name="csX6" fmla="*/ 676110 w 676111"/>
              <a:gd name="csY6" fmla="*/ 422571 h 912748"/>
              <a:gd name="csX7" fmla="*/ 676110 w 676111"/>
              <a:gd name="csY7" fmla="*/ 877080 h 912748"/>
              <a:gd name="csX8" fmla="*/ 640442 w 676111"/>
              <a:gd name="csY8" fmla="*/ 912748 h 912748"/>
              <a:gd name="csX9" fmla="*/ 523986 w 676111"/>
              <a:gd name="csY9" fmla="*/ 912748 h 912748"/>
              <a:gd name="csX10" fmla="*/ 213969 w 676111"/>
              <a:gd name="csY10" fmla="*/ 912748 h 912748"/>
              <a:gd name="csX11" fmla="*/ 33805 w 676111"/>
              <a:gd name="csY11" fmla="*/ 912748 h 912748"/>
              <a:gd name="csX12" fmla="*/ 0 w 676111"/>
              <a:gd name="csY12" fmla="*/ 878943 h 912748"/>
              <a:gd name="csX13" fmla="*/ 0 w 676111"/>
              <a:gd name="csY13" fmla="*/ 189987 h 912748"/>
              <a:gd name="csX14" fmla="*/ 14874 w 676111"/>
              <a:gd name="csY14" fmla="*/ 154153 h 912748"/>
              <a:gd name="csX15" fmla="*/ 154153 w 676111"/>
              <a:gd name="csY15" fmla="*/ 14874 h 912748"/>
              <a:gd name="csX16" fmla="*/ 189987 w 676111"/>
              <a:gd name="csY16" fmla="*/ 0 h 9127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676111" h="912748">
                <a:moveTo>
                  <a:pt x="189987" y="0"/>
                </a:moveTo>
                <a:lnTo>
                  <a:pt x="213969" y="0"/>
                </a:lnTo>
                <a:lnTo>
                  <a:pt x="640442" y="0"/>
                </a:lnTo>
                <a:lnTo>
                  <a:pt x="642305" y="0"/>
                </a:lnTo>
                <a:cubicBezTo>
                  <a:pt x="660952" y="56"/>
                  <a:pt x="676055" y="15159"/>
                  <a:pt x="676111" y="33805"/>
                </a:cubicBezTo>
                <a:lnTo>
                  <a:pt x="676111" y="422569"/>
                </a:lnTo>
                <a:lnTo>
                  <a:pt x="676110" y="422571"/>
                </a:lnTo>
                <a:lnTo>
                  <a:pt x="676110" y="877080"/>
                </a:lnTo>
                <a:cubicBezTo>
                  <a:pt x="676110" y="896779"/>
                  <a:pt x="660141" y="912748"/>
                  <a:pt x="640442" y="912748"/>
                </a:cubicBezTo>
                <a:lnTo>
                  <a:pt x="523986" y="912748"/>
                </a:lnTo>
                <a:lnTo>
                  <a:pt x="213969" y="912748"/>
                </a:lnTo>
                <a:lnTo>
                  <a:pt x="33805" y="912748"/>
                </a:lnTo>
                <a:cubicBezTo>
                  <a:pt x="15159" y="912692"/>
                  <a:pt x="56" y="897590"/>
                  <a:pt x="0" y="878943"/>
                </a:cubicBezTo>
                <a:lnTo>
                  <a:pt x="0" y="189987"/>
                </a:lnTo>
                <a:cubicBezTo>
                  <a:pt x="40" y="176548"/>
                  <a:pt x="5386" y="163669"/>
                  <a:pt x="14874" y="154153"/>
                </a:cubicBezTo>
                <a:lnTo>
                  <a:pt x="154153" y="14874"/>
                </a:lnTo>
                <a:cubicBezTo>
                  <a:pt x="163669" y="5386"/>
                  <a:pt x="176548" y="40"/>
                  <a:pt x="189987" y="0"/>
                </a:cubicBezTo>
                <a:close/>
              </a:path>
            </a:pathLst>
          </a:cu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18900000" scaled="1"/>
          </a:gradFill>
          <a:ln w="1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dirty="0"/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8302E096-B20A-FED1-DD9A-903B2D3015F3}"/>
              </a:ext>
            </a:extLst>
          </p:cNvPr>
          <p:cNvSpPr/>
          <p:nvPr/>
        </p:nvSpPr>
        <p:spPr>
          <a:xfrm>
            <a:off x="5374571" y="2303761"/>
            <a:ext cx="111199" cy="111199"/>
          </a:xfrm>
          <a:custGeom>
            <a:avLst/>
            <a:gdLst>
              <a:gd name="csX0" fmla="*/ 224344 w 224344"/>
              <a:gd name="csY0" fmla="*/ 0 h 224344"/>
              <a:gd name="csX1" fmla="*/ 224344 w 224344"/>
              <a:gd name="csY1" fmla="*/ 178183 h 224344"/>
              <a:gd name="csX2" fmla="*/ 178183 w 224344"/>
              <a:gd name="csY2" fmla="*/ 224344 h 224344"/>
              <a:gd name="csX3" fmla="*/ 0 w 224344"/>
              <a:gd name="csY3" fmla="*/ 224344 h 224344"/>
              <a:gd name="csX4" fmla="*/ 13848 w 224344"/>
              <a:gd name="csY4" fmla="*/ 204033 h 224344"/>
              <a:gd name="csX5" fmla="*/ 204033 w 224344"/>
              <a:gd name="csY5" fmla="*/ 13848 h 224344"/>
              <a:gd name="csX6" fmla="*/ 224344 w 224344"/>
              <a:gd name="csY6" fmla="*/ 0 h 2243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24344" h="224344">
                <a:moveTo>
                  <a:pt x="224344" y="0"/>
                </a:moveTo>
                <a:lnTo>
                  <a:pt x="224344" y="178183"/>
                </a:lnTo>
                <a:cubicBezTo>
                  <a:pt x="224268" y="203645"/>
                  <a:pt x="203645" y="224268"/>
                  <a:pt x="178183" y="224344"/>
                </a:cubicBezTo>
                <a:lnTo>
                  <a:pt x="0" y="224344"/>
                </a:lnTo>
                <a:cubicBezTo>
                  <a:pt x="3308" y="216769"/>
                  <a:pt x="8005" y="209880"/>
                  <a:pt x="13848" y="204033"/>
                </a:cubicBezTo>
                <a:lnTo>
                  <a:pt x="204033" y="13848"/>
                </a:lnTo>
                <a:cubicBezTo>
                  <a:pt x="209880" y="8005"/>
                  <a:pt x="216769" y="3308"/>
                  <a:pt x="224344" y="0"/>
                </a:cubicBezTo>
                <a:close/>
              </a:path>
            </a:pathLst>
          </a:custGeo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80" name="Freeform: Shape 179">
            <a:extLst>
              <a:ext uri="{FF2B5EF4-FFF2-40B4-BE49-F238E27FC236}">
                <a16:creationId xmlns:a16="http://schemas.microsoft.com/office/drawing/2014/main" id="{AF197698-E1C5-E25D-8498-274B4AD9F356}"/>
              </a:ext>
            </a:extLst>
          </p:cNvPr>
          <p:cNvSpPr/>
          <p:nvPr/>
        </p:nvSpPr>
        <p:spPr>
          <a:xfrm>
            <a:off x="5705390" y="2667262"/>
            <a:ext cx="276461" cy="276460"/>
          </a:xfrm>
          <a:custGeom>
            <a:avLst/>
            <a:gdLst>
              <a:gd name="csX0" fmla="*/ 784743 w 784742"/>
              <a:gd name="csY0" fmla="*/ 392371 h 784742"/>
              <a:gd name="csX1" fmla="*/ 392371 w 784742"/>
              <a:gd name="csY1" fmla="*/ 784743 h 784742"/>
              <a:gd name="csX2" fmla="*/ 0 w 784742"/>
              <a:gd name="csY2" fmla="*/ 392371 h 784742"/>
              <a:gd name="csX3" fmla="*/ 392371 w 784742"/>
              <a:gd name="csY3" fmla="*/ 0 h 784742"/>
              <a:gd name="csX4" fmla="*/ 784743 w 784742"/>
              <a:gd name="csY4" fmla="*/ 392371 h 7847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784742" h="784742">
                <a:moveTo>
                  <a:pt x="784743" y="392371"/>
                </a:moveTo>
                <a:cubicBezTo>
                  <a:pt x="784743" y="609072"/>
                  <a:pt x="609072" y="784743"/>
                  <a:pt x="392371" y="784743"/>
                </a:cubicBezTo>
                <a:cubicBezTo>
                  <a:pt x="175671" y="784743"/>
                  <a:pt x="0" y="609072"/>
                  <a:pt x="0" y="392371"/>
                </a:cubicBezTo>
                <a:cubicBezTo>
                  <a:pt x="0" y="175671"/>
                  <a:pt x="175671" y="0"/>
                  <a:pt x="392371" y="0"/>
                </a:cubicBezTo>
                <a:cubicBezTo>
                  <a:pt x="609072" y="0"/>
                  <a:pt x="784743" y="175671"/>
                  <a:pt x="784743" y="392371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183" name="Freeform: Shape 182">
            <a:extLst>
              <a:ext uri="{FF2B5EF4-FFF2-40B4-BE49-F238E27FC236}">
                <a16:creationId xmlns:a16="http://schemas.microsoft.com/office/drawing/2014/main" id="{B199D7CE-346F-D09E-7203-07A0F7691A4C}"/>
              </a:ext>
            </a:extLst>
          </p:cNvPr>
          <p:cNvSpPr/>
          <p:nvPr/>
        </p:nvSpPr>
        <p:spPr>
          <a:xfrm>
            <a:off x="5431911" y="2795691"/>
            <a:ext cx="194344" cy="80172"/>
          </a:xfrm>
          <a:custGeom>
            <a:avLst/>
            <a:gdLst>
              <a:gd name="csX0" fmla="*/ 369007 w 392087"/>
              <a:gd name="csY0" fmla="*/ 161565 h 161746"/>
              <a:gd name="csX1" fmla="*/ 253604 w 392087"/>
              <a:gd name="csY1" fmla="*/ 113095 h 161746"/>
              <a:gd name="csX2" fmla="*/ 138200 w 392087"/>
              <a:gd name="csY2" fmla="*/ 161565 h 161746"/>
              <a:gd name="csX3" fmla="*/ 115120 w 392087"/>
              <a:gd name="csY3" fmla="*/ 157987 h 161746"/>
              <a:gd name="csX4" fmla="*/ 92039 w 392087"/>
              <a:gd name="csY4" fmla="*/ 161565 h 161746"/>
              <a:gd name="csX5" fmla="*/ 6479 w 392087"/>
              <a:gd name="csY5" fmla="*/ 131721 h 161746"/>
              <a:gd name="csX6" fmla="*/ 7046 w 392087"/>
              <a:gd name="csY6" fmla="*/ 99085 h 161746"/>
              <a:gd name="csX7" fmla="*/ 39115 w 392087"/>
              <a:gd name="csY7" fmla="*/ 99085 h 161746"/>
              <a:gd name="csX8" fmla="*/ 54810 w 392087"/>
              <a:gd name="csY8" fmla="*/ 108318 h 161746"/>
              <a:gd name="csX9" fmla="*/ 45878 w 392087"/>
              <a:gd name="csY9" fmla="*/ 69242 h 161746"/>
              <a:gd name="csX10" fmla="*/ 115120 w 392087"/>
              <a:gd name="csY10" fmla="*/ 0 h 161746"/>
              <a:gd name="csX11" fmla="*/ 184362 w 392087"/>
              <a:gd name="csY11" fmla="*/ 69242 h 161746"/>
              <a:gd name="csX12" fmla="*/ 174275 w 392087"/>
              <a:gd name="csY12" fmla="*/ 110603 h 161746"/>
              <a:gd name="csX13" fmla="*/ 231723 w 392087"/>
              <a:gd name="csY13" fmla="*/ 61948 h 161746"/>
              <a:gd name="csX14" fmla="*/ 260857 w 392087"/>
              <a:gd name="csY14" fmla="*/ 47229 h 161746"/>
              <a:gd name="csX15" fmla="*/ 275577 w 392087"/>
              <a:gd name="csY15" fmla="*/ 61948 h 161746"/>
              <a:gd name="csX16" fmla="*/ 369007 w 392087"/>
              <a:gd name="csY16" fmla="*/ 115403 h 161746"/>
              <a:gd name="csX17" fmla="*/ 392088 w 392087"/>
              <a:gd name="csY17" fmla="*/ 138484 h 161746"/>
              <a:gd name="csX18" fmla="*/ 369007 w 392087"/>
              <a:gd name="csY18" fmla="*/ 161565 h 161746"/>
              <a:gd name="csX19" fmla="*/ 115120 w 392087"/>
              <a:gd name="csY19" fmla="*/ 46161 h 161746"/>
              <a:gd name="csX20" fmla="*/ 92039 w 392087"/>
              <a:gd name="csY20" fmla="*/ 69242 h 161746"/>
              <a:gd name="csX21" fmla="*/ 115120 w 392087"/>
              <a:gd name="csY21" fmla="*/ 107810 h 161746"/>
              <a:gd name="csX22" fmla="*/ 138200 w 392087"/>
              <a:gd name="csY22" fmla="*/ 69242 h 161746"/>
              <a:gd name="csX23" fmla="*/ 115120 w 392087"/>
              <a:gd name="csY23" fmla="*/ 46161 h 1617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392087" h="161746">
                <a:moveTo>
                  <a:pt x="369007" y="161565"/>
                </a:moveTo>
                <a:cubicBezTo>
                  <a:pt x="325176" y="163764"/>
                  <a:pt x="282720" y="145932"/>
                  <a:pt x="253604" y="113095"/>
                </a:cubicBezTo>
                <a:cubicBezTo>
                  <a:pt x="224488" y="145932"/>
                  <a:pt x="182031" y="163764"/>
                  <a:pt x="138200" y="161565"/>
                </a:cubicBezTo>
                <a:cubicBezTo>
                  <a:pt x="130376" y="161471"/>
                  <a:pt x="122605" y="160267"/>
                  <a:pt x="115120" y="157987"/>
                </a:cubicBezTo>
                <a:cubicBezTo>
                  <a:pt x="107634" y="160267"/>
                  <a:pt x="99863" y="161471"/>
                  <a:pt x="92039" y="161565"/>
                </a:cubicBezTo>
                <a:cubicBezTo>
                  <a:pt x="60752" y="162922"/>
                  <a:pt x="30134" y="152243"/>
                  <a:pt x="6479" y="131721"/>
                </a:cubicBezTo>
                <a:cubicBezTo>
                  <a:pt x="-2377" y="122553"/>
                  <a:pt x="-2123" y="107941"/>
                  <a:pt x="7046" y="99085"/>
                </a:cubicBezTo>
                <a:cubicBezTo>
                  <a:pt x="15991" y="90447"/>
                  <a:pt x="30171" y="90447"/>
                  <a:pt x="39115" y="99085"/>
                </a:cubicBezTo>
                <a:cubicBezTo>
                  <a:pt x="43822" y="102978"/>
                  <a:pt x="49120" y="106095"/>
                  <a:pt x="54810" y="108318"/>
                </a:cubicBezTo>
                <a:cubicBezTo>
                  <a:pt x="48856" y="96157"/>
                  <a:pt x="45799" y="82782"/>
                  <a:pt x="45878" y="69242"/>
                </a:cubicBezTo>
                <a:cubicBezTo>
                  <a:pt x="45878" y="31001"/>
                  <a:pt x="76878" y="0"/>
                  <a:pt x="115120" y="0"/>
                </a:cubicBezTo>
                <a:cubicBezTo>
                  <a:pt x="153361" y="0"/>
                  <a:pt x="184362" y="31001"/>
                  <a:pt x="184362" y="69242"/>
                </a:cubicBezTo>
                <a:cubicBezTo>
                  <a:pt x="184469" y="83650"/>
                  <a:pt x="181003" y="97861"/>
                  <a:pt x="174275" y="110603"/>
                </a:cubicBezTo>
                <a:cubicBezTo>
                  <a:pt x="199926" y="104155"/>
                  <a:pt x="221141" y="86187"/>
                  <a:pt x="231723" y="61948"/>
                </a:cubicBezTo>
                <a:cubicBezTo>
                  <a:pt x="235704" y="49839"/>
                  <a:pt x="248747" y="43249"/>
                  <a:pt x="260857" y="47229"/>
                </a:cubicBezTo>
                <a:cubicBezTo>
                  <a:pt x="267823" y="49519"/>
                  <a:pt x="273287" y="54982"/>
                  <a:pt x="275577" y="61948"/>
                </a:cubicBezTo>
                <a:cubicBezTo>
                  <a:pt x="276200" y="63933"/>
                  <a:pt x="295426" y="115403"/>
                  <a:pt x="369007" y="115403"/>
                </a:cubicBezTo>
                <a:cubicBezTo>
                  <a:pt x="381754" y="115403"/>
                  <a:pt x="392088" y="125737"/>
                  <a:pt x="392088" y="138484"/>
                </a:cubicBezTo>
                <a:cubicBezTo>
                  <a:pt x="392088" y="151231"/>
                  <a:pt x="381754" y="161565"/>
                  <a:pt x="369007" y="161565"/>
                </a:cubicBezTo>
                <a:close/>
                <a:moveTo>
                  <a:pt x="115120" y="46161"/>
                </a:moveTo>
                <a:cubicBezTo>
                  <a:pt x="102373" y="46161"/>
                  <a:pt x="92039" y="56495"/>
                  <a:pt x="92039" y="69242"/>
                </a:cubicBezTo>
                <a:cubicBezTo>
                  <a:pt x="92183" y="85328"/>
                  <a:pt x="101011" y="100080"/>
                  <a:pt x="115120" y="107810"/>
                </a:cubicBezTo>
                <a:cubicBezTo>
                  <a:pt x="129228" y="100080"/>
                  <a:pt x="138056" y="85328"/>
                  <a:pt x="138200" y="69242"/>
                </a:cubicBezTo>
                <a:cubicBezTo>
                  <a:pt x="138200" y="56495"/>
                  <a:pt x="127867" y="46161"/>
                  <a:pt x="115120" y="46161"/>
                </a:cubicBezTo>
                <a:close/>
              </a:path>
            </a:pathLst>
          </a:custGeo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grpSp>
        <p:nvGrpSpPr>
          <p:cNvPr id="184" name="Graphic 64">
            <a:extLst>
              <a:ext uri="{FF2B5EF4-FFF2-40B4-BE49-F238E27FC236}">
                <a16:creationId xmlns:a16="http://schemas.microsoft.com/office/drawing/2014/main" id="{10280776-99B0-7850-4055-1D21C3C8A286}"/>
              </a:ext>
            </a:extLst>
          </p:cNvPr>
          <p:cNvGrpSpPr/>
          <p:nvPr/>
        </p:nvGrpSpPr>
        <p:grpSpPr>
          <a:xfrm>
            <a:off x="5420331" y="2463924"/>
            <a:ext cx="366089" cy="297446"/>
            <a:chOff x="2061661" y="-115204"/>
            <a:chExt cx="738581" cy="600097"/>
          </a:xfrm>
          <a:gradFill>
            <a:gsLst>
              <a:gs pos="4000">
                <a:schemeClr val="accent3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</p:grpSpPr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18919D3-04A5-CC90-4E4A-4958AE7DD2F3}"/>
                </a:ext>
              </a:extLst>
            </p:cNvPr>
            <p:cNvSpPr/>
            <p:nvPr/>
          </p:nvSpPr>
          <p:spPr>
            <a:xfrm>
              <a:off x="2061661" y="438732"/>
              <a:ext cx="392371" cy="46161"/>
            </a:xfrm>
            <a:custGeom>
              <a:avLst/>
              <a:gdLst>
                <a:gd name="csX0" fmla="*/ 369291 w 392371"/>
                <a:gd name="csY0" fmla="*/ 46161 h 46161"/>
                <a:gd name="csX1" fmla="*/ 23081 w 392371"/>
                <a:gd name="csY1" fmla="*/ 46161 h 46161"/>
                <a:gd name="csX2" fmla="*/ 0 w 392371"/>
                <a:gd name="csY2" fmla="*/ 23081 h 46161"/>
                <a:gd name="csX3" fmla="*/ 23081 w 392371"/>
                <a:gd name="csY3" fmla="*/ 0 h 46161"/>
                <a:gd name="csX4" fmla="*/ 369291 w 392371"/>
                <a:gd name="csY4" fmla="*/ 0 h 46161"/>
                <a:gd name="csX5" fmla="*/ 392371 w 392371"/>
                <a:gd name="csY5" fmla="*/ 23081 h 46161"/>
                <a:gd name="csX6" fmla="*/ 369291 w 39237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92371" h="46161">
                  <a:moveTo>
                    <a:pt x="36929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69291" y="0"/>
                  </a:lnTo>
                  <a:cubicBezTo>
                    <a:pt x="382038" y="0"/>
                    <a:pt x="392371" y="10334"/>
                    <a:pt x="392371" y="23081"/>
                  </a:cubicBezTo>
                  <a:cubicBezTo>
                    <a:pt x="392371" y="35828"/>
                    <a:pt x="382038" y="46161"/>
                    <a:pt x="36929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1A532C42-616C-BE99-771C-59C817272155}"/>
                </a:ext>
              </a:extLst>
            </p:cNvPr>
            <p:cNvSpPr/>
            <p:nvPr/>
          </p:nvSpPr>
          <p:spPr>
            <a:xfrm>
              <a:off x="2061661" y="300248"/>
              <a:ext cx="415452" cy="46161"/>
            </a:xfrm>
            <a:custGeom>
              <a:avLst/>
              <a:gdLst>
                <a:gd name="csX0" fmla="*/ 392371 w 415452"/>
                <a:gd name="csY0" fmla="*/ 46161 h 46161"/>
                <a:gd name="csX1" fmla="*/ 23081 w 415452"/>
                <a:gd name="csY1" fmla="*/ 46161 h 46161"/>
                <a:gd name="csX2" fmla="*/ 0 w 415452"/>
                <a:gd name="csY2" fmla="*/ 23081 h 46161"/>
                <a:gd name="csX3" fmla="*/ 23081 w 415452"/>
                <a:gd name="csY3" fmla="*/ 0 h 46161"/>
                <a:gd name="csX4" fmla="*/ 392371 w 415452"/>
                <a:gd name="csY4" fmla="*/ 0 h 46161"/>
                <a:gd name="csX5" fmla="*/ 415452 w 415452"/>
                <a:gd name="csY5" fmla="*/ 23081 h 46161"/>
                <a:gd name="csX6" fmla="*/ 392371 w 415452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15452" h="46161">
                  <a:moveTo>
                    <a:pt x="39237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92371" y="0"/>
                  </a:lnTo>
                  <a:cubicBezTo>
                    <a:pt x="405118" y="0"/>
                    <a:pt x="415452" y="10334"/>
                    <a:pt x="415452" y="23081"/>
                  </a:cubicBezTo>
                  <a:cubicBezTo>
                    <a:pt x="415452" y="35828"/>
                    <a:pt x="405118" y="46161"/>
                    <a:pt x="39237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A25B25E4-B0F7-FB8E-AB9D-A7962B5F31C5}"/>
                </a:ext>
              </a:extLst>
            </p:cNvPr>
            <p:cNvSpPr/>
            <p:nvPr/>
          </p:nvSpPr>
          <p:spPr>
            <a:xfrm>
              <a:off x="2061661" y="161764"/>
              <a:ext cx="507774" cy="46161"/>
            </a:xfrm>
            <a:custGeom>
              <a:avLst/>
              <a:gdLst>
                <a:gd name="csX0" fmla="*/ 484694 w 507774"/>
                <a:gd name="csY0" fmla="*/ 46161 h 46161"/>
                <a:gd name="csX1" fmla="*/ 23081 w 507774"/>
                <a:gd name="csY1" fmla="*/ 46161 h 46161"/>
                <a:gd name="csX2" fmla="*/ 0 w 507774"/>
                <a:gd name="csY2" fmla="*/ 23081 h 46161"/>
                <a:gd name="csX3" fmla="*/ 23081 w 507774"/>
                <a:gd name="csY3" fmla="*/ 0 h 46161"/>
                <a:gd name="csX4" fmla="*/ 484694 w 507774"/>
                <a:gd name="csY4" fmla="*/ 0 h 46161"/>
                <a:gd name="csX5" fmla="*/ 507775 w 507774"/>
                <a:gd name="csY5" fmla="*/ 23081 h 46161"/>
                <a:gd name="csX6" fmla="*/ 484694 w 507774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07774" h="46161">
                  <a:moveTo>
                    <a:pt x="484694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484694" y="0"/>
                  </a:lnTo>
                  <a:cubicBezTo>
                    <a:pt x="497441" y="0"/>
                    <a:pt x="507775" y="10334"/>
                    <a:pt x="507775" y="23081"/>
                  </a:cubicBezTo>
                  <a:cubicBezTo>
                    <a:pt x="507775" y="35828"/>
                    <a:pt x="497441" y="46161"/>
                    <a:pt x="484694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7CAD7DE9-CF69-6F17-B43F-588429F82659}"/>
                </a:ext>
              </a:extLst>
            </p:cNvPr>
            <p:cNvSpPr/>
            <p:nvPr/>
          </p:nvSpPr>
          <p:spPr>
            <a:xfrm>
              <a:off x="2061661" y="23280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16B55647-62F7-ADF8-03FA-D6CB1A7D71FF}"/>
                </a:ext>
              </a:extLst>
            </p:cNvPr>
            <p:cNvSpPr/>
            <p:nvPr/>
          </p:nvSpPr>
          <p:spPr>
            <a:xfrm>
              <a:off x="2061661" y="-115204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09A9E884-895B-88AB-51FB-4A30A180B7DF}"/>
              </a:ext>
            </a:extLst>
          </p:cNvPr>
          <p:cNvSpPr/>
          <p:nvPr/>
        </p:nvSpPr>
        <p:spPr>
          <a:xfrm rot="20145245" flipH="1">
            <a:off x="6002142" y="2916766"/>
            <a:ext cx="903" cy="657"/>
          </a:xfrm>
          <a:custGeom>
            <a:avLst/>
            <a:gdLst>
              <a:gd name="csX0" fmla="*/ 12458 w 13527"/>
              <a:gd name="csY0" fmla="*/ 9832 h 9832"/>
              <a:gd name="csX1" fmla="*/ 0 w 13527"/>
              <a:gd name="csY1" fmla="*/ 0 h 9832"/>
              <a:gd name="csX2" fmla="*/ 12458 w 13527"/>
              <a:gd name="csY2" fmla="*/ 9832 h 98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7" h="9832">
                <a:moveTo>
                  <a:pt x="12458" y="9832"/>
                </a:moveTo>
                <a:cubicBezTo>
                  <a:pt x="7389" y="7634"/>
                  <a:pt x="2382" y="5313"/>
                  <a:pt x="0" y="0"/>
                </a:cubicBezTo>
                <a:cubicBezTo>
                  <a:pt x="5130" y="1221"/>
                  <a:pt x="17161" y="2138"/>
                  <a:pt x="12458" y="9832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4" name="Freeform: Shape 193">
            <a:extLst>
              <a:ext uri="{FF2B5EF4-FFF2-40B4-BE49-F238E27FC236}">
                <a16:creationId xmlns:a16="http://schemas.microsoft.com/office/drawing/2014/main" id="{A4633A3F-8383-5410-F613-E1D77DCB5053}"/>
              </a:ext>
            </a:extLst>
          </p:cNvPr>
          <p:cNvSpPr/>
          <p:nvPr/>
        </p:nvSpPr>
        <p:spPr>
          <a:xfrm rot="20145245" flipH="1">
            <a:off x="5932799" y="2799620"/>
            <a:ext cx="112946" cy="139232"/>
          </a:xfrm>
          <a:custGeom>
            <a:avLst/>
            <a:gdLst>
              <a:gd name="csX0" fmla="*/ 1691555 w 1691554"/>
              <a:gd name="csY0" fmla="*/ 70263 h 2085222"/>
              <a:gd name="csX1" fmla="*/ 1676715 w 1691554"/>
              <a:gd name="csY1" fmla="*/ 89317 h 2085222"/>
              <a:gd name="csX2" fmla="*/ 1676410 w 1691554"/>
              <a:gd name="csY2" fmla="*/ 2019265 h 2085222"/>
              <a:gd name="csX3" fmla="*/ 1596346 w 1691554"/>
              <a:gd name="csY3" fmla="*/ 2081679 h 2085222"/>
              <a:gd name="csX4" fmla="*/ 992360 w 1691554"/>
              <a:gd name="csY4" fmla="*/ 1820786 h 2085222"/>
              <a:gd name="csX5" fmla="*/ 963779 w 1691554"/>
              <a:gd name="csY5" fmla="*/ 1782922 h 2085222"/>
              <a:gd name="csX6" fmla="*/ 951320 w 1691554"/>
              <a:gd name="csY6" fmla="*/ 1773090 h 2085222"/>
              <a:gd name="csX7" fmla="*/ 938618 w 1691554"/>
              <a:gd name="csY7" fmla="*/ 1772662 h 2085222"/>
              <a:gd name="csX8" fmla="*/ 895319 w 1691554"/>
              <a:gd name="csY8" fmla="*/ 1782373 h 2085222"/>
              <a:gd name="csX9" fmla="*/ 60059 w 1691554"/>
              <a:gd name="csY9" fmla="*/ 1935720 h 2085222"/>
              <a:gd name="csX10" fmla="*/ 44608 w 1691554"/>
              <a:gd name="csY10" fmla="*/ 1944515 h 2085222"/>
              <a:gd name="csX11" fmla="*/ 27 w 1691554"/>
              <a:gd name="csY11" fmla="*/ 1877948 h 2085222"/>
              <a:gd name="csX12" fmla="*/ 1606117 w 1691554"/>
              <a:gd name="csY12" fmla="*/ 1010 h 2085222"/>
              <a:gd name="csX13" fmla="*/ 1691555 w 1691554"/>
              <a:gd name="csY13" fmla="*/ 70325 h 20852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691554" h="2085222">
                <a:moveTo>
                  <a:pt x="1691555" y="70263"/>
                </a:moveTo>
                <a:lnTo>
                  <a:pt x="1676715" y="89317"/>
                </a:lnTo>
                <a:lnTo>
                  <a:pt x="1676410" y="2019265"/>
                </a:lnTo>
                <a:cubicBezTo>
                  <a:pt x="1665966" y="2074106"/>
                  <a:pt x="1659615" y="2094076"/>
                  <a:pt x="1596346" y="2081679"/>
                </a:cubicBezTo>
                <a:lnTo>
                  <a:pt x="992360" y="1820786"/>
                </a:lnTo>
                <a:cubicBezTo>
                  <a:pt x="975138" y="1810893"/>
                  <a:pt x="965611" y="1798251"/>
                  <a:pt x="963779" y="1782922"/>
                </a:cubicBezTo>
                <a:lnTo>
                  <a:pt x="951320" y="1773090"/>
                </a:lnTo>
                <a:cubicBezTo>
                  <a:pt x="946923" y="1779197"/>
                  <a:pt x="942709" y="1779075"/>
                  <a:pt x="938618" y="1772662"/>
                </a:cubicBezTo>
                <a:cubicBezTo>
                  <a:pt x="927625" y="1782922"/>
                  <a:pt x="913151" y="1786159"/>
                  <a:pt x="895319" y="1782373"/>
                </a:cubicBezTo>
                <a:lnTo>
                  <a:pt x="60059" y="1935720"/>
                </a:lnTo>
                <a:cubicBezTo>
                  <a:pt x="66288" y="1921125"/>
                  <a:pt x="61158" y="1924056"/>
                  <a:pt x="44608" y="1944515"/>
                </a:cubicBezTo>
                <a:cubicBezTo>
                  <a:pt x="32211" y="1922835"/>
                  <a:pt x="-1073" y="1914468"/>
                  <a:pt x="27" y="1877948"/>
                </a:cubicBezTo>
                <a:lnTo>
                  <a:pt x="1606117" y="1010"/>
                </a:lnTo>
                <a:cubicBezTo>
                  <a:pt x="1656989" y="-7296"/>
                  <a:pt x="1674577" y="37408"/>
                  <a:pt x="1691555" y="70325"/>
                </a:cubicBezTo>
                <a:close/>
              </a:path>
            </a:pathLst>
          </a:custGeom>
          <a:solidFill>
            <a:schemeClr val="accent3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62BA8A6F-1673-8013-70F4-E2B5D586C3E7}"/>
              </a:ext>
            </a:extLst>
          </p:cNvPr>
          <p:cNvSpPr/>
          <p:nvPr/>
        </p:nvSpPr>
        <p:spPr>
          <a:xfrm rot="20145245" flipH="1">
            <a:off x="5924985" y="2816993"/>
            <a:ext cx="66951" cy="160694"/>
          </a:xfrm>
          <a:custGeom>
            <a:avLst/>
            <a:gdLst>
              <a:gd name="csX0" fmla="*/ 753539 w 1002707"/>
              <a:gd name="csY0" fmla="*/ 36703 h 2406639"/>
              <a:gd name="csX1" fmla="*/ 999164 w 1002707"/>
              <a:gd name="csY1" fmla="*/ 364713 h 2406639"/>
              <a:gd name="csX2" fmla="*/ 1002034 w 1002707"/>
              <a:gd name="csY2" fmla="*/ 2402205 h 2406639"/>
              <a:gd name="csX3" fmla="*/ 869023 w 1002707"/>
              <a:gd name="csY3" fmla="*/ 2372403 h 2406639"/>
              <a:gd name="csX4" fmla="*/ 515486 w 1002707"/>
              <a:gd name="csY4" fmla="*/ 2222536 h 2406639"/>
              <a:gd name="csX5" fmla="*/ 281892 w 1002707"/>
              <a:gd name="csY5" fmla="*/ 2116273 h 2406639"/>
              <a:gd name="csX6" fmla="*/ 241158 w 1002707"/>
              <a:gd name="csY6" fmla="*/ 2105647 h 2406639"/>
              <a:gd name="csX7" fmla="*/ 785 w 1002707"/>
              <a:gd name="csY7" fmla="*/ 1769271 h 2406639"/>
              <a:gd name="csX8" fmla="*/ 785 w 1002707"/>
              <a:gd name="csY8" fmla="*/ 1739163 h 2406639"/>
              <a:gd name="csX9" fmla="*/ 13487 w 1002707"/>
              <a:gd name="csY9" fmla="*/ 1739591 h 2406639"/>
              <a:gd name="csX10" fmla="*/ 25946 w 1002707"/>
              <a:gd name="csY10" fmla="*/ 1749423 h 2406639"/>
              <a:gd name="csX11" fmla="*/ 670361 w 1002707"/>
              <a:gd name="csY11" fmla="*/ 2027843 h 2406639"/>
              <a:gd name="csX12" fmla="*/ 703461 w 1002707"/>
              <a:gd name="csY12" fmla="*/ 2023996 h 2406639"/>
              <a:gd name="csX13" fmla="*/ 715064 w 1002707"/>
              <a:gd name="csY13" fmla="*/ 1993888 h 2406639"/>
              <a:gd name="csX14" fmla="*/ 715370 w 1002707"/>
              <a:gd name="csY14" fmla="*/ 0 h 2406639"/>
              <a:gd name="csX15" fmla="*/ 753600 w 1002707"/>
              <a:gd name="csY15" fmla="*/ 36764 h 2406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002707" h="2406639">
                <a:moveTo>
                  <a:pt x="753539" y="36703"/>
                </a:moveTo>
                <a:cubicBezTo>
                  <a:pt x="768623" y="38841"/>
                  <a:pt x="990370" y="331063"/>
                  <a:pt x="999164" y="364713"/>
                </a:cubicBezTo>
                <a:cubicBezTo>
                  <a:pt x="1002584" y="1044182"/>
                  <a:pt x="1003500" y="1723346"/>
                  <a:pt x="1002034" y="2402205"/>
                </a:cubicBezTo>
                <a:cubicBezTo>
                  <a:pt x="962094" y="2413381"/>
                  <a:pt x="917757" y="2403426"/>
                  <a:pt x="869023" y="2372403"/>
                </a:cubicBezTo>
                <a:cubicBezTo>
                  <a:pt x="748592" y="2336676"/>
                  <a:pt x="636222" y="2274995"/>
                  <a:pt x="515486" y="2222536"/>
                </a:cubicBezTo>
                <a:cubicBezTo>
                  <a:pt x="434446" y="2187359"/>
                  <a:pt x="355359" y="2158168"/>
                  <a:pt x="281892" y="2116273"/>
                </a:cubicBezTo>
                <a:lnTo>
                  <a:pt x="241158" y="2105647"/>
                </a:lnTo>
                <a:cubicBezTo>
                  <a:pt x="185950" y="2054226"/>
                  <a:pt x="8296" y="1829609"/>
                  <a:pt x="785" y="1769271"/>
                </a:cubicBezTo>
                <a:cubicBezTo>
                  <a:pt x="-437" y="1759378"/>
                  <a:pt x="-70" y="1749301"/>
                  <a:pt x="785" y="1739163"/>
                </a:cubicBezTo>
                <a:cubicBezTo>
                  <a:pt x="4937" y="1739713"/>
                  <a:pt x="9396" y="1738553"/>
                  <a:pt x="13487" y="1739591"/>
                </a:cubicBezTo>
                <a:lnTo>
                  <a:pt x="25946" y="1749423"/>
                </a:lnTo>
                <a:lnTo>
                  <a:pt x="670361" y="2027843"/>
                </a:lnTo>
                <a:cubicBezTo>
                  <a:pt x="682453" y="2033095"/>
                  <a:pt x="697781" y="2028943"/>
                  <a:pt x="703461" y="2023996"/>
                </a:cubicBezTo>
                <a:cubicBezTo>
                  <a:pt x="708469" y="2019660"/>
                  <a:pt x="715064" y="2010255"/>
                  <a:pt x="715064" y="1993888"/>
                </a:cubicBezTo>
                <a:lnTo>
                  <a:pt x="715370" y="0"/>
                </a:lnTo>
                <a:cubicBezTo>
                  <a:pt x="734790" y="18504"/>
                  <a:pt x="740408" y="34871"/>
                  <a:pt x="753600" y="36764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6" name="Freeform: Shape 195">
            <a:extLst>
              <a:ext uri="{FF2B5EF4-FFF2-40B4-BE49-F238E27FC236}">
                <a16:creationId xmlns:a16="http://schemas.microsoft.com/office/drawing/2014/main" id="{397FEA02-113A-4EA8-E79D-6DD6A8356979}"/>
              </a:ext>
            </a:extLst>
          </p:cNvPr>
          <p:cNvSpPr/>
          <p:nvPr/>
        </p:nvSpPr>
        <p:spPr>
          <a:xfrm rot="20145245" flipH="1">
            <a:off x="5990091" y="2905281"/>
            <a:ext cx="78821" cy="36259"/>
          </a:xfrm>
          <a:custGeom>
            <a:avLst/>
            <a:gdLst>
              <a:gd name="csX0" fmla="*/ 899426 w 1180472"/>
              <a:gd name="csY0" fmla="*/ 14426 h 543038"/>
              <a:gd name="csX1" fmla="*/ 1134120 w 1180472"/>
              <a:gd name="csY1" fmla="*/ 339260 h 543038"/>
              <a:gd name="csX2" fmla="*/ 1180472 w 1180472"/>
              <a:gd name="csY2" fmla="*/ 391597 h 543038"/>
              <a:gd name="csX3" fmla="*/ 315349 w 1180472"/>
              <a:gd name="csY3" fmla="*/ 541586 h 543038"/>
              <a:gd name="csX4" fmla="*/ 237972 w 1180472"/>
              <a:gd name="csY4" fmla="*/ 510013 h 543038"/>
              <a:gd name="csX5" fmla="*/ 5355 w 1180472"/>
              <a:gd name="csY5" fmla="*/ 186339 h 543038"/>
              <a:gd name="csX6" fmla="*/ 2790 w 1180472"/>
              <a:gd name="csY6" fmla="*/ 157026 h 543038"/>
              <a:gd name="csX7" fmla="*/ 853440 w 1180472"/>
              <a:gd name="csY7" fmla="*/ 930 h 543038"/>
              <a:gd name="csX8" fmla="*/ 899426 w 1180472"/>
              <a:gd name="csY8" fmla="*/ 14487 h 543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80472" h="543038">
                <a:moveTo>
                  <a:pt x="899426" y="14426"/>
                </a:moveTo>
                <a:cubicBezTo>
                  <a:pt x="965016" y="123681"/>
                  <a:pt x="1042453" y="235745"/>
                  <a:pt x="1134120" y="339260"/>
                </a:cubicBezTo>
                <a:lnTo>
                  <a:pt x="1180472" y="391597"/>
                </a:lnTo>
                <a:lnTo>
                  <a:pt x="315349" y="541586"/>
                </a:lnTo>
                <a:cubicBezTo>
                  <a:pt x="281821" y="547388"/>
                  <a:pt x="255255" y="535601"/>
                  <a:pt x="237972" y="510013"/>
                </a:cubicBezTo>
                <a:cubicBezTo>
                  <a:pt x="161634" y="397277"/>
                  <a:pt x="70334" y="300114"/>
                  <a:pt x="5355" y="186339"/>
                </a:cubicBezTo>
                <a:cubicBezTo>
                  <a:pt x="2790" y="178095"/>
                  <a:pt x="-3683" y="168934"/>
                  <a:pt x="2790" y="157026"/>
                </a:cubicBezTo>
                <a:lnTo>
                  <a:pt x="853440" y="930"/>
                </a:lnTo>
                <a:cubicBezTo>
                  <a:pt x="873960" y="-2857"/>
                  <a:pt x="889594" y="5571"/>
                  <a:pt x="899426" y="14487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9" name="Freeform: Shape 198">
            <a:extLst>
              <a:ext uri="{FF2B5EF4-FFF2-40B4-BE49-F238E27FC236}">
                <a16:creationId xmlns:a16="http://schemas.microsoft.com/office/drawing/2014/main" id="{B62EDB9D-F838-FF95-7641-969D03D16D66}"/>
              </a:ext>
            </a:extLst>
          </p:cNvPr>
          <p:cNvSpPr>
            <a:spLocks/>
          </p:cNvSpPr>
          <p:nvPr/>
        </p:nvSpPr>
        <p:spPr>
          <a:xfrm>
            <a:off x="7061409" y="2303762"/>
            <a:ext cx="457612" cy="617774"/>
          </a:xfrm>
          <a:custGeom>
            <a:avLst/>
            <a:gdLst>
              <a:gd name="csX0" fmla="*/ 189987 w 676111"/>
              <a:gd name="csY0" fmla="*/ 0 h 912748"/>
              <a:gd name="csX1" fmla="*/ 213969 w 676111"/>
              <a:gd name="csY1" fmla="*/ 0 h 912748"/>
              <a:gd name="csX2" fmla="*/ 640442 w 676111"/>
              <a:gd name="csY2" fmla="*/ 0 h 912748"/>
              <a:gd name="csX3" fmla="*/ 642305 w 676111"/>
              <a:gd name="csY3" fmla="*/ 0 h 912748"/>
              <a:gd name="csX4" fmla="*/ 676111 w 676111"/>
              <a:gd name="csY4" fmla="*/ 33805 h 912748"/>
              <a:gd name="csX5" fmla="*/ 676111 w 676111"/>
              <a:gd name="csY5" fmla="*/ 422569 h 912748"/>
              <a:gd name="csX6" fmla="*/ 676110 w 676111"/>
              <a:gd name="csY6" fmla="*/ 422571 h 912748"/>
              <a:gd name="csX7" fmla="*/ 676110 w 676111"/>
              <a:gd name="csY7" fmla="*/ 877080 h 912748"/>
              <a:gd name="csX8" fmla="*/ 640442 w 676111"/>
              <a:gd name="csY8" fmla="*/ 912748 h 912748"/>
              <a:gd name="csX9" fmla="*/ 523986 w 676111"/>
              <a:gd name="csY9" fmla="*/ 912748 h 912748"/>
              <a:gd name="csX10" fmla="*/ 213969 w 676111"/>
              <a:gd name="csY10" fmla="*/ 912748 h 912748"/>
              <a:gd name="csX11" fmla="*/ 33805 w 676111"/>
              <a:gd name="csY11" fmla="*/ 912748 h 912748"/>
              <a:gd name="csX12" fmla="*/ 0 w 676111"/>
              <a:gd name="csY12" fmla="*/ 878943 h 912748"/>
              <a:gd name="csX13" fmla="*/ 0 w 676111"/>
              <a:gd name="csY13" fmla="*/ 189987 h 912748"/>
              <a:gd name="csX14" fmla="*/ 14874 w 676111"/>
              <a:gd name="csY14" fmla="*/ 154153 h 912748"/>
              <a:gd name="csX15" fmla="*/ 154153 w 676111"/>
              <a:gd name="csY15" fmla="*/ 14874 h 912748"/>
              <a:gd name="csX16" fmla="*/ 189987 w 676111"/>
              <a:gd name="csY16" fmla="*/ 0 h 9127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676111" h="912748">
                <a:moveTo>
                  <a:pt x="189987" y="0"/>
                </a:moveTo>
                <a:lnTo>
                  <a:pt x="213969" y="0"/>
                </a:lnTo>
                <a:lnTo>
                  <a:pt x="640442" y="0"/>
                </a:lnTo>
                <a:lnTo>
                  <a:pt x="642305" y="0"/>
                </a:lnTo>
                <a:cubicBezTo>
                  <a:pt x="660952" y="56"/>
                  <a:pt x="676055" y="15159"/>
                  <a:pt x="676111" y="33805"/>
                </a:cubicBezTo>
                <a:lnTo>
                  <a:pt x="676111" y="422569"/>
                </a:lnTo>
                <a:lnTo>
                  <a:pt x="676110" y="422571"/>
                </a:lnTo>
                <a:lnTo>
                  <a:pt x="676110" y="877080"/>
                </a:lnTo>
                <a:cubicBezTo>
                  <a:pt x="676110" y="896779"/>
                  <a:pt x="660141" y="912748"/>
                  <a:pt x="640442" y="912748"/>
                </a:cubicBezTo>
                <a:lnTo>
                  <a:pt x="523986" y="912748"/>
                </a:lnTo>
                <a:lnTo>
                  <a:pt x="213969" y="912748"/>
                </a:lnTo>
                <a:lnTo>
                  <a:pt x="33805" y="912748"/>
                </a:lnTo>
                <a:cubicBezTo>
                  <a:pt x="15159" y="912692"/>
                  <a:pt x="56" y="897590"/>
                  <a:pt x="0" y="878943"/>
                </a:cubicBezTo>
                <a:lnTo>
                  <a:pt x="0" y="189987"/>
                </a:lnTo>
                <a:cubicBezTo>
                  <a:pt x="40" y="176548"/>
                  <a:pt x="5386" y="163669"/>
                  <a:pt x="14874" y="154153"/>
                </a:cubicBezTo>
                <a:lnTo>
                  <a:pt x="154153" y="14874"/>
                </a:lnTo>
                <a:cubicBezTo>
                  <a:pt x="163669" y="5386"/>
                  <a:pt x="176548" y="40"/>
                  <a:pt x="189987" y="0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18900000" scaled="1"/>
          </a:gradFill>
          <a:ln w="1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dirty="0"/>
          </a:p>
        </p:txBody>
      </p:sp>
      <p:sp>
        <p:nvSpPr>
          <p:cNvPr id="200" name="Freeform: Shape 199">
            <a:extLst>
              <a:ext uri="{FF2B5EF4-FFF2-40B4-BE49-F238E27FC236}">
                <a16:creationId xmlns:a16="http://schemas.microsoft.com/office/drawing/2014/main" id="{071AE060-98E5-1D7B-C88B-81D16DD174C5}"/>
              </a:ext>
            </a:extLst>
          </p:cNvPr>
          <p:cNvSpPr/>
          <p:nvPr/>
        </p:nvSpPr>
        <p:spPr>
          <a:xfrm>
            <a:off x="7061409" y="2303762"/>
            <a:ext cx="111199" cy="111199"/>
          </a:xfrm>
          <a:custGeom>
            <a:avLst/>
            <a:gdLst>
              <a:gd name="csX0" fmla="*/ 224344 w 224344"/>
              <a:gd name="csY0" fmla="*/ 0 h 224344"/>
              <a:gd name="csX1" fmla="*/ 224344 w 224344"/>
              <a:gd name="csY1" fmla="*/ 178183 h 224344"/>
              <a:gd name="csX2" fmla="*/ 178183 w 224344"/>
              <a:gd name="csY2" fmla="*/ 224344 h 224344"/>
              <a:gd name="csX3" fmla="*/ 0 w 224344"/>
              <a:gd name="csY3" fmla="*/ 224344 h 224344"/>
              <a:gd name="csX4" fmla="*/ 13848 w 224344"/>
              <a:gd name="csY4" fmla="*/ 204033 h 224344"/>
              <a:gd name="csX5" fmla="*/ 204033 w 224344"/>
              <a:gd name="csY5" fmla="*/ 13848 h 224344"/>
              <a:gd name="csX6" fmla="*/ 224344 w 224344"/>
              <a:gd name="csY6" fmla="*/ 0 h 22434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224344" h="224344">
                <a:moveTo>
                  <a:pt x="224344" y="0"/>
                </a:moveTo>
                <a:lnTo>
                  <a:pt x="224344" y="178183"/>
                </a:lnTo>
                <a:cubicBezTo>
                  <a:pt x="224268" y="203645"/>
                  <a:pt x="203645" y="224268"/>
                  <a:pt x="178183" y="224344"/>
                </a:cubicBezTo>
                <a:lnTo>
                  <a:pt x="0" y="224344"/>
                </a:lnTo>
                <a:cubicBezTo>
                  <a:pt x="3308" y="216769"/>
                  <a:pt x="8005" y="209880"/>
                  <a:pt x="13848" y="204033"/>
                </a:cubicBezTo>
                <a:lnTo>
                  <a:pt x="204033" y="13848"/>
                </a:lnTo>
                <a:cubicBezTo>
                  <a:pt x="209880" y="8005"/>
                  <a:pt x="216769" y="3308"/>
                  <a:pt x="224344" y="0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201" name="Freeform: Shape 200">
            <a:extLst>
              <a:ext uri="{FF2B5EF4-FFF2-40B4-BE49-F238E27FC236}">
                <a16:creationId xmlns:a16="http://schemas.microsoft.com/office/drawing/2014/main" id="{4B168FF5-4442-F14A-B91F-A89FE47C116A}"/>
              </a:ext>
            </a:extLst>
          </p:cNvPr>
          <p:cNvSpPr/>
          <p:nvPr/>
        </p:nvSpPr>
        <p:spPr>
          <a:xfrm>
            <a:off x="7392230" y="2667263"/>
            <a:ext cx="276462" cy="276460"/>
          </a:xfrm>
          <a:custGeom>
            <a:avLst/>
            <a:gdLst>
              <a:gd name="csX0" fmla="*/ 784743 w 784742"/>
              <a:gd name="csY0" fmla="*/ 392371 h 784742"/>
              <a:gd name="csX1" fmla="*/ 392371 w 784742"/>
              <a:gd name="csY1" fmla="*/ 784743 h 784742"/>
              <a:gd name="csX2" fmla="*/ 0 w 784742"/>
              <a:gd name="csY2" fmla="*/ 392371 h 784742"/>
              <a:gd name="csX3" fmla="*/ 392371 w 784742"/>
              <a:gd name="csY3" fmla="*/ 0 h 784742"/>
              <a:gd name="csX4" fmla="*/ 784743 w 784742"/>
              <a:gd name="csY4" fmla="*/ 392371 h 78474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784742" h="784742">
                <a:moveTo>
                  <a:pt x="784743" y="392371"/>
                </a:moveTo>
                <a:cubicBezTo>
                  <a:pt x="784743" y="609072"/>
                  <a:pt x="609072" y="784743"/>
                  <a:pt x="392371" y="784743"/>
                </a:cubicBezTo>
                <a:cubicBezTo>
                  <a:pt x="175671" y="784743"/>
                  <a:pt x="0" y="609072"/>
                  <a:pt x="0" y="392371"/>
                </a:cubicBezTo>
                <a:cubicBezTo>
                  <a:pt x="0" y="175671"/>
                  <a:pt x="175671" y="0"/>
                  <a:pt x="392371" y="0"/>
                </a:cubicBezTo>
                <a:cubicBezTo>
                  <a:pt x="609072" y="0"/>
                  <a:pt x="784743" y="175671"/>
                  <a:pt x="784743" y="392371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202" name="Freeform: Shape 201">
            <a:extLst>
              <a:ext uri="{FF2B5EF4-FFF2-40B4-BE49-F238E27FC236}">
                <a16:creationId xmlns:a16="http://schemas.microsoft.com/office/drawing/2014/main" id="{C8A354DD-8168-37C2-7C44-1110D9382DE7}"/>
              </a:ext>
            </a:extLst>
          </p:cNvPr>
          <p:cNvSpPr/>
          <p:nvPr/>
        </p:nvSpPr>
        <p:spPr>
          <a:xfrm>
            <a:off x="7118751" y="2795692"/>
            <a:ext cx="194344" cy="80172"/>
          </a:xfrm>
          <a:custGeom>
            <a:avLst/>
            <a:gdLst>
              <a:gd name="csX0" fmla="*/ 369007 w 392087"/>
              <a:gd name="csY0" fmla="*/ 161565 h 161746"/>
              <a:gd name="csX1" fmla="*/ 253604 w 392087"/>
              <a:gd name="csY1" fmla="*/ 113095 h 161746"/>
              <a:gd name="csX2" fmla="*/ 138200 w 392087"/>
              <a:gd name="csY2" fmla="*/ 161565 h 161746"/>
              <a:gd name="csX3" fmla="*/ 115120 w 392087"/>
              <a:gd name="csY3" fmla="*/ 157987 h 161746"/>
              <a:gd name="csX4" fmla="*/ 92039 w 392087"/>
              <a:gd name="csY4" fmla="*/ 161565 h 161746"/>
              <a:gd name="csX5" fmla="*/ 6479 w 392087"/>
              <a:gd name="csY5" fmla="*/ 131721 h 161746"/>
              <a:gd name="csX6" fmla="*/ 7046 w 392087"/>
              <a:gd name="csY6" fmla="*/ 99085 h 161746"/>
              <a:gd name="csX7" fmla="*/ 39115 w 392087"/>
              <a:gd name="csY7" fmla="*/ 99085 h 161746"/>
              <a:gd name="csX8" fmla="*/ 54810 w 392087"/>
              <a:gd name="csY8" fmla="*/ 108318 h 161746"/>
              <a:gd name="csX9" fmla="*/ 45878 w 392087"/>
              <a:gd name="csY9" fmla="*/ 69242 h 161746"/>
              <a:gd name="csX10" fmla="*/ 115120 w 392087"/>
              <a:gd name="csY10" fmla="*/ 0 h 161746"/>
              <a:gd name="csX11" fmla="*/ 184362 w 392087"/>
              <a:gd name="csY11" fmla="*/ 69242 h 161746"/>
              <a:gd name="csX12" fmla="*/ 174275 w 392087"/>
              <a:gd name="csY12" fmla="*/ 110603 h 161746"/>
              <a:gd name="csX13" fmla="*/ 231723 w 392087"/>
              <a:gd name="csY13" fmla="*/ 61948 h 161746"/>
              <a:gd name="csX14" fmla="*/ 260857 w 392087"/>
              <a:gd name="csY14" fmla="*/ 47229 h 161746"/>
              <a:gd name="csX15" fmla="*/ 275577 w 392087"/>
              <a:gd name="csY15" fmla="*/ 61948 h 161746"/>
              <a:gd name="csX16" fmla="*/ 369007 w 392087"/>
              <a:gd name="csY16" fmla="*/ 115403 h 161746"/>
              <a:gd name="csX17" fmla="*/ 392088 w 392087"/>
              <a:gd name="csY17" fmla="*/ 138484 h 161746"/>
              <a:gd name="csX18" fmla="*/ 369007 w 392087"/>
              <a:gd name="csY18" fmla="*/ 161565 h 161746"/>
              <a:gd name="csX19" fmla="*/ 115120 w 392087"/>
              <a:gd name="csY19" fmla="*/ 46161 h 161746"/>
              <a:gd name="csX20" fmla="*/ 92039 w 392087"/>
              <a:gd name="csY20" fmla="*/ 69242 h 161746"/>
              <a:gd name="csX21" fmla="*/ 115120 w 392087"/>
              <a:gd name="csY21" fmla="*/ 107810 h 161746"/>
              <a:gd name="csX22" fmla="*/ 138200 w 392087"/>
              <a:gd name="csY22" fmla="*/ 69242 h 161746"/>
              <a:gd name="csX23" fmla="*/ 115120 w 392087"/>
              <a:gd name="csY23" fmla="*/ 46161 h 1617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392087" h="161746">
                <a:moveTo>
                  <a:pt x="369007" y="161565"/>
                </a:moveTo>
                <a:cubicBezTo>
                  <a:pt x="325176" y="163764"/>
                  <a:pt x="282720" y="145932"/>
                  <a:pt x="253604" y="113095"/>
                </a:cubicBezTo>
                <a:cubicBezTo>
                  <a:pt x="224488" y="145932"/>
                  <a:pt x="182031" y="163764"/>
                  <a:pt x="138200" y="161565"/>
                </a:cubicBezTo>
                <a:cubicBezTo>
                  <a:pt x="130376" y="161471"/>
                  <a:pt x="122605" y="160267"/>
                  <a:pt x="115120" y="157987"/>
                </a:cubicBezTo>
                <a:cubicBezTo>
                  <a:pt x="107634" y="160267"/>
                  <a:pt x="99863" y="161471"/>
                  <a:pt x="92039" y="161565"/>
                </a:cubicBezTo>
                <a:cubicBezTo>
                  <a:pt x="60752" y="162922"/>
                  <a:pt x="30134" y="152243"/>
                  <a:pt x="6479" y="131721"/>
                </a:cubicBezTo>
                <a:cubicBezTo>
                  <a:pt x="-2377" y="122553"/>
                  <a:pt x="-2123" y="107941"/>
                  <a:pt x="7046" y="99085"/>
                </a:cubicBezTo>
                <a:cubicBezTo>
                  <a:pt x="15991" y="90447"/>
                  <a:pt x="30171" y="90447"/>
                  <a:pt x="39115" y="99085"/>
                </a:cubicBezTo>
                <a:cubicBezTo>
                  <a:pt x="43822" y="102978"/>
                  <a:pt x="49120" y="106095"/>
                  <a:pt x="54810" y="108318"/>
                </a:cubicBezTo>
                <a:cubicBezTo>
                  <a:pt x="48856" y="96157"/>
                  <a:pt x="45799" y="82782"/>
                  <a:pt x="45878" y="69242"/>
                </a:cubicBezTo>
                <a:cubicBezTo>
                  <a:pt x="45878" y="31001"/>
                  <a:pt x="76878" y="0"/>
                  <a:pt x="115120" y="0"/>
                </a:cubicBezTo>
                <a:cubicBezTo>
                  <a:pt x="153361" y="0"/>
                  <a:pt x="184362" y="31001"/>
                  <a:pt x="184362" y="69242"/>
                </a:cubicBezTo>
                <a:cubicBezTo>
                  <a:pt x="184469" y="83650"/>
                  <a:pt x="181003" y="97861"/>
                  <a:pt x="174275" y="110603"/>
                </a:cubicBezTo>
                <a:cubicBezTo>
                  <a:pt x="199926" y="104155"/>
                  <a:pt x="221141" y="86187"/>
                  <a:pt x="231723" y="61948"/>
                </a:cubicBezTo>
                <a:cubicBezTo>
                  <a:pt x="235704" y="49839"/>
                  <a:pt x="248747" y="43249"/>
                  <a:pt x="260857" y="47229"/>
                </a:cubicBezTo>
                <a:cubicBezTo>
                  <a:pt x="267823" y="49519"/>
                  <a:pt x="273287" y="54982"/>
                  <a:pt x="275577" y="61948"/>
                </a:cubicBezTo>
                <a:cubicBezTo>
                  <a:pt x="276200" y="63933"/>
                  <a:pt x="295426" y="115403"/>
                  <a:pt x="369007" y="115403"/>
                </a:cubicBezTo>
                <a:cubicBezTo>
                  <a:pt x="381754" y="115403"/>
                  <a:pt x="392088" y="125737"/>
                  <a:pt x="392088" y="138484"/>
                </a:cubicBezTo>
                <a:cubicBezTo>
                  <a:pt x="392088" y="151231"/>
                  <a:pt x="381754" y="161565"/>
                  <a:pt x="369007" y="161565"/>
                </a:cubicBezTo>
                <a:close/>
                <a:moveTo>
                  <a:pt x="115120" y="46161"/>
                </a:moveTo>
                <a:cubicBezTo>
                  <a:pt x="102373" y="46161"/>
                  <a:pt x="92039" y="56495"/>
                  <a:pt x="92039" y="69242"/>
                </a:cubicBezTo>
                <a:cubicBezTo>
                  <a:pt x="92183" y="85328"/>
                  <a:pt x="101011" y="100080"/>
                  <a:pt x="115120" y="107810"/>
                </a:cubicBezTo>
                <a:cubicBezTo>
                  <a:pt x="129228" y="100080"/>
                  <a:pt x="138056" y="85328"/>
                  <a:pt x="138200" y="69242"/>
                </a:cubicBezTo>
                <a:cubicBezTo>
                  <a:pt x="138200" y="56495"/>
                  <a:pt x="127867" y="46161"/>
                  <a:pt x="115120" y="46161"/>
                </a:cubicBezTo>
                <a:close/>
              </a:path>
            </a:pathLst>
          </a:custGeo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  <a:ln w="1246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grpSp>
        <p:nvGrpSpPr>
          <p:cNvPr id="203" name="Graphic 64">
            <a:extLst>
              <a:ext uri="{FF2B5EF4-FFF2-40B4-BE49-F238E27FC236}">
                <a16:creationId xmlns:a16="http://schemas.microsoft.com/office/drawing/2014/main" id="{493419AD-0BF1-FB6D-C035-4B03A37A3FB8}"/>
              </a:ext>
            </a:extLst>
          </p:cNvPr>
          <p:cNvGrpSpPr/>
          <p:nvPr/>
        </p:nvGrpSpPr>
        <p:grpSpPr>
          <a:xfrm>
            <a:off x="7107170" y="2463925"/>
            <a:ext cx="366089" cy="297446"/>
            <a:chOff x="2061661" y="-115204"/>
            <a:chExt cx="738581" cy="600097"/>
          </a:xfrm>
          <a:gradFill>
            <a:gsLst>
              <a:gs pos="4000">
                <a:schemeClr val="accent2">
                  <a:lumMod val="20000"/>
                  <a:lumOff val="80000"/>
                </a:schemeClr>
              </a:gs>
              <a:gs pos="83000">
                <a:schemeClr val="bg1"/>
              </a:gs>
            </a:gsLst>
            <a:lin ang="0" scaled="1"/>
          </a:gra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A0B4F8A2-D2D6-9961-E32F-ACF48F377910}"/>
                </a:ext>
              </a:extLst>
            </p:cNvPr>
            <p:cNvSpPr/>
            <p:nvPr/>
          </p:nvSpPr>
          <p:spPr>
            <a:xfrm>
              <a:off x="2061661" y="438732"/>
              <a:ext cx="392371" cy="46161"/>
            </a:xfrm>
            <a:custGeom>
              <a:avLst/>
              <a:gdLst>
                <a:gd name="csX0" fmla="*/ 369291 w 392371"/>
                <a:gd name="csY0" fmla="*/ 46161 h 46161"/>
                <a:gd name="csX1" fmla="*/ 23081 w 392371"/>
                <a:gd name="csY1" fmla="*/ 46161 h 46161"/>
                <a:gd name="csX2" fmla="*/ 0 w 392371"/>
                <a:gd name="csY2" fmla="*/ 23081 h 46161"/>
                <a:gd name="csX3" fmla="*/ 23081 w 392371"/>
                <a:gd name="csY3" fmla="*/ 0 h 46161"/>
                <a:gd name="csX4" fmla="*/ 369291 w 392371"/>
                <a:gd name="csY4" fmla="*/ 0 h 46161"/>
                <a:gd name="csX5" fmla="*/ 392371 w 392371"/>
                <a:gd name="csY5" fmla="*/ 23081 h 46161"/>
                <a:gd name="csX6" fmla="*/ 369291 w 39237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392371" h="46161">
                  <a:moveTo>
                    <a:pt x="36929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69291" y="0"/>
                  </a:lnTo>
                  <a:cubicBezTo>
                    <a:pt x="382038" y="0"/>
                    <a:pt x="392371" y="10334"/>
                    <a:pt x="392371" y="23081"/>
                  </a:cubicBezTo>
                  <a:cubicBezTo>
                    <a:pt x="392371" y="35828"/>
                    <a:pt x="382038" y="46161"/>
                    <a:pt x="36929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FD215AA4-A68E-2D6A-59CE-89A87238526B}"/>
                </a:ext>
              </a:extLst>
            </p:cNvPr>
            <p:cNvSpPr/>
            <p:nvPr/>
          </p:nvSpPr>
          <p:spPr>
            <a:xfrm>
              <a:off x="2061661" y="300248"/>
              <a:ext cx="415452" cy="46161"/>
            </a:xfrm>
            <a:custGeom>
              <a:avLst/>
              <a:gdLst>
                <a:gd name="csX0" fmla="*/ 392371 w 415452"/>
                <a:gd name="csY0" fmla="*/ 46161 h 46161"/>
                <a:gd name="csX1" fmla="*/ 23081 w 415452"/>
                <a:gd name="csY1" fmla="*/ 46161 h 46161"/>
                <a:gd name="csX2" fmla="*/ 0 w 415452"/>
                <a:gd name="csY2" fmla="*/ 23081 h 46161"/>
                <a:gd name="csX3" fmla="*/ 23081 w 415452"/>
                <a:gd name="csY3" fmla="*/ 0 h 46161"/>
                <a:gd name="csX4" fmla="*/ 392371 w 415452"/>
                <a:gd name="csY4" fmla="*/ 0 h 46161"/>
                <a:gd name="csX5" fmla="*/ 415452 w 415452"/>
                <a:gd name="csY5" fmla="*/ 23081 h 46161"/>
                <a:gd name="csX6" fmla="*/ 392371 w 415452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15452" h="46161">
                  <a:moveTo>
                    <a:pt x="39237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392371" y="0"/>
                  </a:lnTo>
                  <a:cubicBezTo>
                    <a:pt x="405118" y="0"/>
                    <a:pt x="415452" y="10334"/>
                    <a:pt x="415452" y="23081"/>
                  </a:cubicBezTo>
                  <a:cubicBezTo>
                    <a:pt x="415452" y="35828"/>
                    <a:pt x="405118" y="46161"/>
                    <a:pt x="39237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40CA9C0C-B00B-C833-E061-B6CFFB885D5B}"/>
                </a:ext>
              </a:extLst>
            </p:cNvPr>
            <p:cNvSpPr/>
            <p:nvPr/>
          </p:nvSpPr>
          <p:spPr>
            <a:xfrm>
              <a:off x="2061661" y="161764"/>
              <a:ext cx="507774" cy="46161"/>
            </a:xfrm>
            <a:custGeom>
              <a:avLst/>
              <a:gdLst>
                <a:gd name="csX0" fmla="*/ 484694 w 507774"/>
                <a:gd name="csY0" fmla="*/ 46161 h 46161"/>
                <a:gd name="csX1" fmla="*/ 23081 w 507774"/>
                <a:gd name="csY1" fmla="*/ 46161 h 46161"/>
                <a:gd name="csX2" fmla="*/ 0 w 507774"/>
                <a:gd name="csY2" fmla="*/ 23081 h 46161"/>
                <a:gd name="csX3" fmla="*/ 23081 w 507774"/>
                <a:gd name="csY3" fmla="*/ 0 h 46161"/>
                <a:gd name="csX4" fmla="*/ 484694 w 507774"/>
                <a:gd name="csY4" fmla="*/ 0 h 46161"/>
                <a:gd name="csX5" fmla="*/ 507775 w 507774"/>
                <a:gd name="csY5" fmla="*/ 23081 h 46161"/>
                <a:gd name="csX6" fmla="*/ 484694 w 507774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507774" h="46161">
                  <a:moveTo>
                    <a:pt x="484694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484694" y="0"/>
                  </a:lnTo>
                  <a:cubicBezTo>
                    <a:pt x="497441" y="0"/>
                    <a:pt x="507775" y="10334"/>
                    <a:pt x="507775" y="23081"/>
                  </a:cubicBezTo>
                  <a:cubicBezTo>
                    <a:pt x="507775" y="35828"/>
                    <a:pt x="497441" y="46161"/>
                    <a:pt x="484694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C51A2A6D-C921-E194-D8CC-71FD9EBA245D}"/>
                </a:ext>
              </a:extLst>
            </p:cNvPr>
            <p:cNvSpPr/>
            <p:nvPr/>
          </p:nvSpPr>
          <p:spPr>
            <a:xfrm>
              <a:off x="2061661" y="23280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AAB8777-9C81-EC59-4121-C632B80CE514}"/>
                </a:ext>
              </a:extLst>
            </p:cNvPr>
            <p:cNvSpPr/>
            <p:nvPr/>
          </p:nvSpPr>
          <p:spPr>
            <a:xfrm>
              <a:off x="2061661" y="-115204"/>
              <a:ext cx="738581" cy="46161"/>
            </a:xfrm>
            <a:custGeom>
              <a:avLst/>
              <a:gdLst>
                <a:gd name="csX0" fmla="*/ 715501 w 738581"/>
                <a:gd name="csY0" fmla="*/ 46161 h 46161"/>
                <a:gd name="csX1" fmla="*/ 23081 w 738581"/>
                <a:gd name="csY1" fmla="*/ 46161 h 46161"/>
                <a:gd name="csX2" fmla="*/ 0 w 738581"/>
                <a:gd name="csY2" fmla="*/ 23081 h 46161"/>
                <a:gd name="csX3" fmla="*/ 23081 w 738581"/>
                <a:gd name="csY3" fmla="*/ 0 h 46161"/>
                <a:gd name="csX4" fmla="*/ 715501 w 738581"/>
                <a:gd name="csY4" fmla="*/ 0 h 46161"/>
                <a:gd name="csX5" fmla="*/ 738581 w 738581"/>
                <a:gd name="csY5" fmla="*/ 23081 h 46161"/>
                <a:gd name="csX6" fmla="*/ 715501 w 738581"/>
                <a:gd name="csY6" fmla="*/ 46161 h 461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738581" h="46161">
                  <a:moveTo>
                    <a:pt x="715501" y="46161"/>
                  </a:moveTo>
                  <a:lnTo>
                    <a:pt x="23081" y="46161"/>
                  </a:lnTo>
                  <a:cubicBezTo>
                    <a:pt x="10334" y="46161"/>
                    <a:pt x="0" y="35828"/>
                    <a:pt x="0" y="23081"/>
                  </a:cubicBezTo>
                  <a:cubicBezTo>
                    <a:pt x="0" y="10334"/>
                    <a:pt x="10334" y="0"/>
                    <a:pt x="23081" y="0"/>
                  </a:cubicBezTo>
                  <a:lnTo>
                    <a:pt x="715501" y="0"/>
                  </a:lnTo>
                  <a:cubicBezTo>
                    <a:pt x="728248" y="0"/>
                    <a:pt x="738581" y="10334"/>
                    <a:pt x="738581" y="23081"/>
                  </a:cubicBezTo>
                  <a:cubicBezTo>
                    <a:pt x="738581" y="35828"/>
                    <a:pt x="728248" y="46161"/>
                    <a:pt x="715501" y="46161"/>
                  </a:cubicBezTo>
                  <a:close/>
                </a:path>
              </a:pathLst>
            </a:custGeom>
            <a:grpFill/>
            <a:ln w="23019" cap="flat">
              <a:noFill/>
              <a:prstDash val="solid"/>
              <a:miter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204" name="Freeform: Shape 203">
            <a:extLst>
              <a:ext uri="{FF2B5EF4-FFF2-40B4-BE49-F238E27FC236}">
                <a16:creationId xmlns:a16="http://schemas.microsoft.com/office/drawing/2014/main" id="{95E4BD39-1C29-B0AB-9C54-91358C6C0F9F}"/>
              </a:ext>
            </a:extLst>
          </p:cNvPr>
          <p:cNvSpPr/>
          <p:nvPr/>
        </p:nvSpPr>
        <p:spPr>
          <a:xfrm rot="20145245" flipH="1">
            <a:off x="7688982" y="2916767"/>
            <a:ext cx="903" cy="657"/>
          </a:xfrm>
          <a:custGeom>
            <a:avLst/>
            <a:gdLst>
              <a:gd name="csX0" fmla="*/ 12458 w 13527"/>
              <a:gd name="csY0" fmla="*/ 9832 h 9832"/>
              <a:gd name="csX1" fmla="*/ 0 w 13527"/>
              <a:gd name="csY1" fmla="*/ 0 h 9832"/>
              <a:gd name="csX2" fmla="*/ 12458 w 13527"/>
              <a:gd name="csY2" fmla="*/ 9832 h 983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13527" h="9832">
                <a:moveTo>
                  <a:pt x="12458" y="9832"/>
                </a:moveTo>
                <a:cubicBezTo>
                  <a:pt x="7389" y="7634"/>
                  <a:pt x="2382" y="5313"/>
                  <a:pt x="0" y="0"/>
                </a:cubicBezTo>
                <a:cubicBezTo>
                  <a:pt x="5130" y="1221"/>
                  <a:pt x="17161" y="2138"/>
                  <a:pt x="12458" y="9832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6" name="Freeform: Shape 205">
            <a:extLst>
              <a:ext uri="{FF2B5EF4-FFF2-40B4-BE49-F238E27FC236}">
                <a16:creationId xmlns:a16="http://schemas.microsoft.com/office/drawing/2014/main" id="{2B1EC7C8-6921-E32A-8E5E-62CF945E5D1D}"/>
              </a:ext>
            </a:extLst>
          </p:cNvPr>
          <p:cNvSpPr/>
          <p:nvPr/>
        </p:nvSpPr>
        <p:spPr>
          <a:xfrm rot="20145245" flipH="1">
            <a:off x="7619639" y="2799621"/>
            <a:ext cx="112946" cy="139232"/>
          </a:xfrm>
          <a:custGeom>
            <a:avLst/>
            <a:gdLst>
              <a:gd name="csX0" fmla="*/ 1691555 w 1691554"/>
              <a:gd name="csY0" fmla="*/ 70263 h 2085222"/>
              <a:gd name="csX1" fmla="*/ 1676715 w 1691554"/>
              <a:gd name="csY1" fmla="*/ 89317 h 2085222"/>
              <a:gd name="csX2" fmla="*/ 1676410 w 1691554"/>
              <a:gd name="csY2" fmla="*/ 2019265 h 2085222"/>
              <a:gd name="csX3" fmla="*/ 1596346 w 1691554"/>
              <a:gd name="csY3" fmla="*/ 2081679 h 2085222"/>
              <a:gd name="csX4" fmla="*/ 992360 w 1691554"/>
              <a:gd name="csY4" fmla="*/ 1820786 h 2085222"/>
              <a:gd name="csX5" fmla="*/ 963779 w 1691554"/>
              <a:gd name="csY5" fmla="*/ 1782922 h 2085222"/>
              <a:gd name="csX6" fmla="*/ 951320 w 1691554"/>
              <a:gd name="csY6" fmla="*/ 1773090 h 2085222"/>
              <a:gd name="csX7" fmla="*/ 938618 w 1691554"/>
              <a:gd name="csY7" fmla="*/ 1772662 h 2085222"/>
              <a:gd name="csX8" fmla="*/ 895319 w 1691554"/>
              <a:gd name="csY8" fmla="*/ 1782373 h 2085222"/>
              <a:gd name="csX9" fmla="*/ 60059 w 1691554"/>
              <a:gd name="csY9" fmla="*/ 1935720 h 2085222"/>
              <a:gd name="csX10" fmla="*/ 44608 w 1691554"/>
              <a:gd name="csY10" fmla="*/ 1944515 h 2085222"/>
              <a:gd name="csX11" fmla="*/ 27 w 1691554"/>
              <a:gd name="csY11" fmla="*/ 1877948 h 2085222"/>
              <a:gd name="csX12" fmla="*/ 1606117 w 1691554"/>
              <a:gd name="csY12" fmla="*/ 1010 h 2085222"/>
              <a:gd name="csX13" fmla="*/ 1691555 w 1691554"/>
              <a:gd name="csY13" fmla="*/ 70325 h 208522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</a:cxnLst>
            <a:rect l="l" t="t" r="r" b="b"/>
            <a:pathLst>
              <a:path w="1691554" h="2085222">
                <a:moveTo>
                  <a:pt x="1691555" y="70263"/>
                </a:moveTo>
                <a:lnTo>
                  <a:pt x="1676715" y="89317"/>
                </a:lnTo>
                <a:lnTo>
                  <a:pt x="1676410" y="2019265"/>
                </a:lnTo>
                <a:cubicBezTo>
                  <a:pt x="1665966" y="2074106"/>
                  <a:pt x="1659615" y="2094076"/>
                  <a:pt x="1596346" y="2081679"/>
                </a:cubicBezTo>
                <a:lnTo>
                  <a:pt x="992360" y="1820786"/>
                </a:lnTo>
                <a:cubicBezTo>
                  <a:pt x="975138" y="1810893"/>
                  <a:pt x="965611" y="1798251"/>
                  <a:pt x="963779" y="1782922"/>
                </a:cubicBezTo>
                <a:lnTo>
                  <a:pt x="951320" y="1773090"/>
                </a:lnTo>
                <a:cubicBezTo>
                  <a:pt x="946923" y="1779197"/>
                  <a:pt x="942709" y="1779075"/>
                  <a:pt x="938618" y="1772662"/>
                </a:cubicBezTo>
                <a:cubicBezTo>
                  <a:pt x="927625" y="1782922"/>
                  <a:pt x="913151" y="1786159"/>
                  <a:pt x="895319" y="1782373"/>
                </a:cubicBezTo>
                <a:lnTo>
                  <a:pt x="60059" y="1935720"/>
                </a:lnTo>
                <a:cubicBezTo>
                  <a:pt x="66288" y="1921125"/>
                  <a:pt x="61158" y="1924056"/>
                  <a:pt x="44608" y="1944515"/>
                </a:cubicBezTo>
                <a:cubicBezTo>
                  <a:pt x="32211" y="1922835"/>
                  <a:pt x="-1073" y="1914468"/>
                  <a:pt x="27" y="1877948"/>
                </a:cubicBezTo>
                <a:lnTo>
                  <a:pt x="1606117" y="1010"/>
                </a:lnTo>
                <a:cubicBezTo>
                  <a:pt x="1656989" y="-7296"/>
                  <a:pt x="1674577" y="37408"/>
                  <a:pt x="1691555" y="70325"/>
                </a:cubicBezTo>
                <a:close/>
              </a:path>
            </a:pathLst>
          </a:custGeom>
          <a:gradFill>
            <a:gsLst>
              <a:gs pos="63000">
                <a:schemeClr val="accent2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2700000" scaled="0"/>
          </a:gra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7" name="Freeform: Shape 206">
            <a:extLst>
              <a:ext uri="{FF2B5EF4-FFF2-40B4-BE49-F238E27FC236}">
                <a16:creationId xmlns:a16="http://schemas.microsoft.com/office/drawing/2014/main" id="{4A50ED57-9345-3C91-19C6-59C125B45CB2}"/>
              </a:ext>
            </a:extLst>
          </p:cNvPr>
          <p:cNvSpPr/>
          <p:nvPr/>
        </p:nvSpPr>
        <p:spPr>
          <a:xfrm rot="20145245" flipH="1">
            <a:off x="7611825" y="2816993"/>
            <a:ext cx="66951" cy="160694"/>
          </a:xfrm>
          <a:custGeom>
            <a:avLst/>
            <a:gdLst>
              <a:gd name="csX0" fmla="*/ 753539 w 1002707"/>
              <a:gd name="csY0" fmla="*/ 36703 h 2406639"/>
              <a:gd name="csX1" fmla="*/ 999164 w 1002707"/>
              <a:gd name="csY1" fmla="*/ 364713 h 2406639"/>
              <a:gd name="csX2" fmla="*/ 1002034 w 1002707"/>
              <a:gd name="csY2" fmla="*/ 2402205 h 2406639"/>
              <a:gd name="csX3" fmla="*/ 869023 w 1002707"/>
              <a:gd name="csY3" fmla="*/ 2372403 h 2406639"/>
              <a:gd name="csX4" fmla="*/ 515486 w 1002707"/>
              <a:gd name="csY4" fmla="*/ 2222536 h 2406639"/>
              <a:gd name="csX5" fmla="*/ 281892 w 1002707"/>
              <a:gd name="csY5" fmla="*/ 2116273 h 2406639"/>
              <a:gd name="csX6" fmla="*/ 241158 w 1002707"/>
              <a:gd name="csY6" fmla="*/ 2105647 h 2406639"/>
              <a:gd name="csX7" fmla="*/ 785 w 1002707"/>
              <a:gd name="csY7" fmla="*/ 1769271 h 2406639"/>
              <a:gd name="csX8" fmla="*/ 785 w 1002707"/>
              <a:gd name="csY8" fmla="*/ 1739163 h 2406639"/>
              <a:gd name="csX9" fmla="*/ 13487 w 1002707"/>
              <a:gd name="csY9" fmla="*/ 1739591 h 2406639"/>
              <a:gd name="csX10" fmla="*/ 25946 w 1002707"/>
              <a:gd name="csY10" fmla="*/ 1749423 h 2406639"/>
              <a:gd name="csX11" fmla="*/ 670361 w 1002707"/>
              <a:gd name="csY11" fmla="*/ 2027843 h 2406639"/>
              <a:gd name="csX12" fmla="*/ 703461 w 1002707"/>
              <a:gd name="csY12" fmla="*/ 2023996 h 2406639"/>
              <a:gd name="csX13" fmla="*/ 715064 w 1002707"/>
              <a:gd name="csY13" fmla="*/ 1993888 h 2406639"/>
              <a:gd name="csX14" fmla="*/ 715370 w 1002707"/>
              <a:gd name="csY14" fmla="*/ 0 h 2406639"/>
              <a:gd name="csX15" fmla="*/ 753600 w 1002707"/>
              <a:gd name="csY15" fmla="*/ 36764 h 240663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</a:cxnLst>
            <a:rect l="l" t="t" r="r" b="b"/>
            <a:pathLst>
              <a:path w="1002707" h="2406639">
                <a:moveTo>
                  <a:pt x="753539" y="36703"/>
                </a:moveTo>
                <a:cubicBezTo>
                  <a:pt x="768623" y="38841"/>
                  <a:pt x="990370" y="331063"/>
                  <a:pt x="999164" y="364713"/>
                </a:cubicBezTo>
                <a:cubicBezTo>
                  <a:pt x="1002584" y="1044182"/>
                  <a:pt x="1003500" y="1723346"/>
                  <a:pt x="1002034" y="2402205"/>
                </a:cubicBezTo>
                <a:cubicBezTo>
                  <a:pt x="962094" y="2413381"/>
                  <a:pt x="917757" y="2403426"/>
                  <a:pt x="869023" y="2372403"/>
                </a:cubicBezTo>
                <a:cubicBezTo>
                  <a:pt x="748592" y="2336676"/>
                  <a:pt x="636222" y="2274995"/>
                  <a:pt x="515486" y="2222536"/>
                </a:cubicBezTo>
                <a:cubicBezTo>
                  <a:pt x="434446" y="2187359"/>
                  <a:pt x="355359" y="2158168"/>
                  <a:pt x="281892" y="2116273"/>
                </a:cubicBezTo>
                <a:lnTo>
                  <a:pt x="241158" y="2105647"/>
                </a:lnTo>
                <a:cubicBezTo>
                  <a:pt x="185950" y="2054226"/>
                  <a:pt x="8296" y="1829609"/>
                  <a:pt x="785" y="1769271"/>
                </a:cubicBezTo>
                <a:cubicBezTo>
                  <a:pt x="-437" y="1759378"/>
                  <a:pt x="-70" y="1749301"/>
                  <a:pt x="785" y="1739163"/>
                </a:cubicBezTo>
                <a:cubicBezTo>
                  <a:pt x="4937" y="1739713"/>
                  <a:pt x="9396" y="1738553"/>
                  <a:pt x="13487" y="1739591"/>
                </a:cubicBezTo>
                <a:lnTo>
                  <a:pt x="25946" y="1749423"/>
                </a:lnTo>
                <a:lnTo>
                  <a:pt x="670361" y="2027843"/>
                </a:lnTo>
                <a:cubicBezTo>
                  <a:pt x="682453" y="2033095"/>
                  <a:pt x="697781" y="2028943"/>
                  <a:pt x="703461" y="2023996"/>
                </a:cubicBezTo>
                <a:cubicBezTo>
                  <a:pt x="708469" y="2019660"/>
                  <a:pt x="715064" y="2010255"/>
                  <a:pt x="715064" y="1993888"/>
                </a:cubicBezTo>
                <a:lnTo>
                  <a:pt x="715370" y="0"/>
                </a:lnTo>
                <a:cubicBezTo>
                  <a:pt x="734790" y="18504"/>
                  <a:pt x="740408" y="34871"/>
                  <a:pt x="753600" y="36764"/>
                </a:cubicBezTo>
                <a:close/>
              </a:path>
            </a:pathLst>
          </a:custGeom>
          <a:solidFill>
            <a:srgbClr val="2D255E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8" name="Freeform: Shape 207">
            <a:extLst>
              <a:ext uri="{FF2B5EF4-FFF2-40B4-BE49-F238E27FC236}">
                <a16:creationId xmlns:a16="http://schemas.microsoft.com/office/drawing/2014/main" id="{274E3570-AEDF-B977-E09B-6AB77E183341}"/>
              </a:ext>
            </a:extLst>
          </p:cNvPr>
          <p:cNvSpPr/>
          <p:nvPr/>
        </p:nvSpPr>
        <p:spPr>
          <a:xfrm rot="20145245" flipH="1">
            <a:off x="7676931" y="2905283"/>
            <a:ext cx="78821" cy="36259"/>
          </a:xfrm>
          <a:custGeom>
            <a:avLst/>
            <a:gdLst>
              <a:gd name="csX0" fmla="*/ 899426 w 1180472"/>
              <a:gd name="csY0" fmla="*/ 14426 h 543038"/>
              <a:gd name="csX1" fmla="*/ 1134120 w 1180472"/>
              <a:gd name="csY1" fmla="*/ 339260 h 543038"/>
              <a:gd name="csX2" fmla="*/ 1180472 w 1180472"/>
              <a:gd name="csY2" fmla="*/ 391597 h 543038"/>
              <a:gd name="csX3" fmla="*/ 315349 w 1180472"/>
              <a:gd name="csY3" fmla="*/ 541586 h 543038"/>
              <a:gd name="csX4" fmla="*/ 237972 w 1180472"/>
              <a:gd name="csY4" fmla="*/ 510013 h 543038"/>
              <a:gd name="csX5" fmla="*/ 5355 w 1180472"/>
              <a:gd name="csY5" fmla="*/ 186339 h 543038"/>
              <a:gd name="csX6" fmla="*/ 2790 w 1180472"/>
              <a:gd name="csY6" fmla="*/ 157026 h 543038"/>
              <a:gd name="csX7" fmla="*/ 853440 w 1180472"/>
              <a:gd name="csY7" fmla="*/ 930 h 543038"/>
              <a:gd name="csX8" fmla="*/ 899426 w 1180472"/>
              <a:gd name="csY8" fmla="*/ 14487 h 5430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80472" h="543038">
                <a:moveTo>
                  <a:pt x="899426" y="14426"/>
                </a:moveTo>
                <a:cubicBezTo>
                  <a:pt x="965016" y="123681"/>
                  <a:pt x="1042453" y="235745"/>
                  <a:pt x="1134120" y="339260"/>
                </a:cubicBezTo>
                <a:lnTo>
                  <a:pt x="1180472" y="391597"/>
                </a:lnTo>
                <a:lnTo>
                  <a:pt x="315349" y="541586"/>
                </a:lnTo>
                <a:cubicBezTo>
                  <a:pt x="281821" y="547388"/>
                  <a:pt x="255255" y="535601"/>
                  <a:pt x="237972" y="510013"/>
                </a:cubicBezTo>
                <a:cubicBezTo>
                  <a:pt x="161634" y="397277"/>
                  <a:pt x="70334" y="300114"/>
                  <a:pt x="5355" y="186339"/>
                </a:cubicBezTo>
                <a:cubicBezTo>
                  <a:pt x="2790" y="178095"/>
                  <a:pt x="-3683" y="168934"/>
                  <a:pt x="2790" y="157026"/>
                </a:cubicBezTo>
                <a:lnTo>
                  <a:pt x="853440" y="930"/>
                </a:lnTo>
                <a:cubicBezTo>
                  <a:pt x="873960" y="-2857"/>
                  <a:pt x="889594" y="5571"/>
                  <a:pt x="899426" y="14487"/>
                </a:cubicBezTo>
                <a:close/>
              </a:path>
            </a:pathLst>
          </a:custGeom>
          <a:solidFill>
            <a:srgbClr val="482E87"/>
          </a:solidFill>
          <a:ln w="6106" cap="flat">
            <a:noFill/>
            <a:prstDash val="solid"/>
            <a:miter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42AC63B-27F0-DF6E-240E-183E6729D9D0}"/>
              </a:ext>
            </a:extLst>
          </p:cNvPr>
          <p:cNvSpPr txBox="1">
            <a:spLocks/>
          </p:cNvSpPr>
          <p:nvPr/>
        </p:nvSpPr>
        <p:spPr>
          <a:xfrm>
            <a:off x="1315817" y="1431735"/>
            <a:ext cx="2320079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1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cs typeface="Circular Std Bold" panose="020B0804020101010102" pitchFamily="34" charset="0"/>
              </a:defRPr>
            </a:lvl1pPr>
          </a:lstStyle>
          <a:p>
            <a:r>
              <a:rPr lang="fr-FR" noProof="1"/>
              <a:t>RÉPARTITION</a:t>
            </a:r>
          </a:p>
        </p:txBody>
      </p:sp>
      <p:pic>
        <p:nvPicPr>
          <p:cNvPr id="303" name="Graphic 302">
            <a:extLst>
              <a:ext uri="{FF2B5EF4-FFF2-40B4-BE49-F238E27FC236}">
                <a16:creationId xmlns:a16="http://schemas.microsoft.com/office/drawing/2014/main" id="{D9088205-6B33-FEB4-8AB8-AE17C114A77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0481" y="2742353"/>
            <a:ext cx="126278" cy="12627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706731E-9094-6FF6-FE24-E666D4128826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67321" y="2742353"/>
            <a:ext cx="126278" cy="126278"/>
          </a:xfrm>
          <a:prstGeom prst="rect">
            <a:avLst/>
          </a:prstGeom>
        </p:spPr>
      </p:pic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5158D95E-EE2F-8CBC-D81E-E7604C153E4F}"/>
              </a:ext>
            </a:extLst>
          </p:cNvPr>
          <p:cNvCxnSpPr>
            <a:cxnSpLocks/>
          </p:cNvCxnSpPr>
          <p:nvPr/>
        </p:nvCxnSpPr>
        <p:spPr>
          <a:xfrm>
            <a:off x="6545561" y="2303761"/>
            <a:ext cx="0" cy="1420117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39266614-C0AC-747C-8AD8-CC9F772C53E4}"/>
              </a:ext>
            </a:extLst>
          </p:cNvPr>
          <p:cNvSpPr txBox="1">
            <a:spLocks/>
          </p:cNvSpPr>
          <p:nvPr/>
        </p:nvSpPr>
        <p:spPr>
          <a:xfrm>
            <a:off x="2576160" y="2809222"/>
            <a:ext cx="927977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>
              <a:defRPr/>
            </a:pPr>
            <a:r>
              <a:rPr lang="fr-FR" sz="4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48</a:t>
            </a:r>
            <a:r>
              <a:rPr lang="fr-FR" sz="2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4000" i="1" noProof="1">
              <a:solidFill>
                <a:schemeClr val="accent3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D6F5431-827B-F070-4A28-7DE281E25E32}"/>
              </a:ext>
            </a:extLst>
          </p:cNvPr>
          <p:cNvSpPr txBox="1">
            <a:spLocks/>
          </p:cNvSpPr>
          <p:nvPr/>
        </p:nvSpPr>
        <p:spPr>
          <a:xfrm>
            <a:off x="1115854" y="2809222"/>
            <a:ext cx="927977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>
              <a:defRPr/>
            </a:pPr>
            <a:r>
              <a:rPr lang="fr-FR" sz="44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52</a:t>
            </a:r>
            <a:r>
              <a:rPr lang="fr-FR" sz="24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%</a:t>
            </a:r>
            <a:endParaRPr lang="fr-FR" sz="4000" i="1" noProof="1">
              <a:solidFill>
                <a:schemeClr val="accent2"/>
              </a:solidFill>
              <a:latin typeface="Rift Demi" panose="00000500000000000000" pitchFamily="50" charset="0"/>
              <a:ea typeface="Circular Std Light" panose="020B0404020101020102" pitchFamily="34" charset="0"/>
              <a:cs typeface="Circular Std Bold" panose="020B0804020101010102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593366-1A90-4209-24BC-2B8B9845DC35}"/>
              </a:ext>
            </a:extLst>
          </p:cNvPr>
          <p:cNvSpPr txBox="1"/>
          <p:nvPr/>
        </p:nvSpPr>
        <p:spPr>
          <a:xfrm>
            <a:off x="1115854" y="3486330"/>
            <a:ext cx="927977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fr-FR" sz="1800" i="1" noProof="1">
                <a:solidFill>
                  <a:schemeClr val="accent2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HOMMES</a:t>
            </a:r>
            <a:endParaRPr lang="fr-F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4B91D9-04F2-0EA3-9287-145BAB6CDDF1}"/>
              </a:ext>
            </a:extLst>
          </p:cNvPr>
          <p:cNvSpPr txBox="1"/>
          <p:nvPr/>
        </p:nvSpPr>
        <p:spPr>
          <a:xfrm>
            <a:off x="2576160" y="3486330"/>
            <a:ext cx="927977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fr-FR" sz="18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FEMMES</a:t>
            </a:r>
            <a:endParaRPr lang="fr-FR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E39EB14-4699-1205-8960-D70D6B3D8505}"/>
              </a:ext>
            </a:extLst>
          </p:cNvPr>
          <p:cNvSpPr/>
          <p:nvPr/>
        </p:nvSpPr>
        <p:spPr>
          <a:xfrm>
            <a:off x="878247" y="2060799"/>
            <a:ext cx="1491347" cy="581111"/>
          </a:xfrm>
          <a:custGeom>
            <a:avLst/>
            <a:gdLst>
              <a:gd name="csX0" fmla="*/ 1871999 w 1871999"/>
              <a:gd name="csY0" fmla="*/ 217129 h 729434"/>
              <a:gd name="csX1" fmla="*/ 1871999 w 1871999"/>
              <a:gd name="csY1" fmla="*/ 493700 h 729434"/>
              <a:gd name="csX2" fmla="*/ 1854898 w 1871999"/>
              <a:gd name="csY2" fmla="*/ 478631 h 729434"/>
              <a:gd name="csX3" fmla="*/ 1845543 w 1871999"/>
              <a:gd name="csY3" fmla="*/ 452906 h 729434"/>
              <a:gd name="csX4" fmla="*/ 1833415 w 1871999"/>
              <a:gd name="csY4" fmla="*/ 279156 h 729434"/>
              <a:gd name="csX5" fmla="*/ 1855055 w 1871999"/>
              <a:gd name="csY5" fmla="*/ 225982 h 729434"/>
              <a:gd name="csX6" fmla="*/ 1699224 w 1871999"/>
              <a:gd name="csY6" fmla="*/ 208971 h 729434"/>
              <a:gd name="csX7" fmla="*/ 1717345 w 1871999"/>
              <a:gd name="csY7" fmla="*/ 212826 h 729434"/>
              <a:gd name="csX8" fmla="*/ 1745993 w 1871999"/>
              <a:gd name="csY8" fmla="*/ 227454 h 729434"/>
              <a:gd name="csX9" fmla="*/ 1765796 w 1871999"/>
              <a:gd name="csY9" fmla="*/ 278082 h 729434"/>
              <a:gd name="csX10" fmla="*/ 1761420 w 1871999"/>
              <a:gd name="csY10" fmla="*/ 352725 h 729434"/>
              <a:gd name="csX11" fmla="*/ 1753701 w 1871999"/>
              <a:gd name="csY11" fmla="*/ 452639 h 729434"/>
              <a:gd name="csX12" fmla="*/ 1724307 w 1871999"/>
              <a:gd name="csY12" fmla="*/ 496172 h 729434"/>
              <a:gd name="csX13" fmla="*/ 1710048 w 1871999"/>
              <a:gd name="csY13" fmla="*/ 516811 h 729434"/>
              <a:gd name="csX14" fmla="*/ 1694850 w 1871999"/>
              <a:gd name="csY14" fmla="*/ 607239 h 729434"/>
              <a:gd name="csX15" fmla="*/ 1694848 w 1871999"/>
              <a:gd name="csY15" fmla="*/ 607234 h 729434"/>
              <a:gd name="csX16" fmla="*/ 1679753 w 1871999"/>
              <a:gd name="csY16" fmla="*/ 677818 h 729434"/>
              <a:gd name="csX17" fmla="*/ 1615589 w 1871999"/>
              <a:gd name="csY17" fmla="*/ 729431 h 729434"/>
              <a:gd name="csX18" fmla="*/ 1552814 w 1871999"/>
              <a:gd name="csY18" fmla="*/ 678024 h 729434"/>
              <a:gd name="csX19" fmla="*/ 1536352 w 1871999"/>
              <a:gd name="csY19" fmla="*/ 599769 h 729434"/>
              <a:gd name="csX20" fmla="*/ 1530275 w 1871999"/>
              <a:gd name="csY20" fmla="*/ 566494 h 729434"/>
              <a:gd name="csX21" fmla="*/ 1522734 w 1871999"/>
              <a:gd name="csY21" fmla="*/ 516495 h 729434"/>
              <a:gd name="csX22" fmla="*/ 1508502 w 1871999"/>
              <a:gd name="csY22" fmla="*/ 496481 h 729434"/>
              <a:gd name="csX23" fmla="*/ 1478889 w 1871999"/>
              <a:gd name="csY23" fmla="*/ 452906 h 729434"/>
              <a:gd name="csX24" fmla="*/ 1466761 w 1871999"/>
              <a:gd name="csY24" fmla="*/ 279156 h 729434"/>
              <a:gd name="csX25" fmla="*/ 1488401 w 1871999"/>
              <a:gd name="csY25" fmla="*/ 225982 h 729434"/>
              <a:gd name="csX26" fmla="*/ 1510768 w 1871999"/>
              <a:gd name="csY26" fmla="*/ 214295 h 729434"/>
              <a:gd name="csX27" fmla="*/ 1533435 w 1871999"/>
              <a:gd name="csY27" fmla="*/ 208982 h 729434"/>
              <a:gd name="csX28" fmla="*/ 1558962 w 1871999"/>
              <a:gd name="csY28" fmla="*/ 219515 h 729434"/>
              <a:gd name="csX29" fmla="*/ 1594628 w 1871999"/>
              <a:gd name="csY29" fmla="*/ 266716 h 729434"/>
              <a:gd name="csX30" fmla="*/ 1638044 w 1871999"/>
              <a:gd name="csY30" fmla="*/ 266701 h 729434"/>
              <a:gd name="csX31" fmla="*/ 1673639 w 1871999"/>
              <a:gd name="csY31" fmla="*/ 219515 h 729434"/>
              <a:gd name="csX32" fmla="*/ 1699224 w 1871999"/>
              <a:gd name="csY32" fmla="*/ 208971 h 729434"/>
              <a:gd name="csX33" fmla="*/ 1332570 w 1871999"/>
              <a:gd name="csY33" fmla="*/ 208971 h 729434"/>
              <a:gd name="csX34" fmla="*/ 1350691 w 1871999"/>
              <a:gd name="csY34" fmla="*/ 212826 h 729434"/>
              <a:gd name="csX35" fmla="*/ 1379339 w 1871999"/>
              <a:gd name="csY35" fmla="*/ 227454 h 729434"/>
              <a:gd name="csX36" fmla="*/ 1399142 w 1871999"/>
              <a:gd name="csY36" fmla="*/ 278082 h 729434"/>
              <a:gd name="csX37" fmla="*/ 1394766 w 1871999"/>
              <a:gd name="csY37" fmla="*/ 352725 h 729434"/>
              <a:gd name="csX38" fmla="*/ 1387047 w 1871999"/>
              <a:gd name="csY38" fmla="*/ 452639 h 729434"/>
              <a:gd name="csX39" fmla="*/ 1357653 w 1871999"/>
              <a:gd name="csY39" fmla="*/ 496172 h 729434"/>
              <a:gd name="csX40" fmla="*/ 1343394 w 1871999"/>
              <a:gd name="csY40" fmla="*/ 516811 h 729434"/>
              <a:gd name="csX41" fmla="*/ 1328196 w 1871999"/>
              <a:gd name="csY41" fmla="*/ 607239 h 729434"/>
              <a:gd name="csX42" fmla="*/ 1328194 w 1871999"/>
              <a:gd name="csY42" fmla="*/ 607234 h 729434"/>
              <a:gd name="csX43" fmla="*/ 1313099 w 1871999"/>
              <a:gd name="csY43" fmla="*/ 677818 h 729434"/>
              <a:gd name="csX44" fmla="*/ 1248935 w 1871999"/>
              <a:gd name="csY44" fmla="*/ 729431 h 729434"/>
              <a:gd name="csX45" fmla="*/ 1186160 w 1871999"/>
              <a:gd name="csY45" fmla="*/ 678024 h 729434"/>
              <a:gd name="csX46" fmla="*/ 1169698 w 1871999"/>
              <a:gd name="csY46" fmla="*/ 599769 h 729434"/>
              <a:gd name="csX47" fmla="*/ 1163621 w 1871999"/>
              <a:gd name="csY47" fmla="*/ 566494 h 729434"/>
              <a:gd name="csX48" fmla="*/ 1156080 w 1871999"/>
              <a:gd name="csY48" fmla="*/ 516495 h 729434"/>
              <a:gd name="csX49" fmla="*/ 1141848 w 1871999"/>
              <a:gd name="csY49" fmla="*/ 496481 h 729434"/>
              <a:gd name="csX50" fmla="*/ 1112236 w 1871999"/>
              <a:gd name="csY50" fmla="*/ 452906 h 729434"/>
              <a:gd name="csX51" fmla="*/ 1100107 w 1871999"/>
              <a:gd name="csY51" fmla="*/ 279156 h 729434"/>
              <a:gd name="csX52" fmla="*/ 1121747 w 1871999"/>
              <a:gd name="csY52" fmla="*/ 225982 h 729434"/>
              <a:gd name="csX53" fmla="*/ 1144114 w 1871999"/>
              <a:gd name="csY53" fmla="*/ 214295 h 729434"/>
              <a:gd name="csX54" fmla="*/ 1166781 w 1871999"/>
              <a:gd name="csY54" fmla="*/ 208982 h 729434"/>
              <a:gd name="csX55" fmla="*/ 1192308 w 1871999"/>
              <a:gd name="csY55" fmla="*/ 219515 h 729434"/>
              <a:gd name="csX56" fmla="*/ 1227974 w 1871999"/>
              <a:gd name="csY56" fmla="*/ 266716 h 729434"/>
              <a:gd name="csX57" fmla="*/ 1271390 w 1871999"/>
              <a:gd name="csY57" fmla="*/ 266701 h 729434"/>
              <a:gd name="csX58" fmla="*/ 1306985 w 1871999"/>
              <a:gd name="csY58" fmla="*/ 219515 h 729434"/>
              <a:gd name="csX59" fmla="*/ 1332570 w 1871999"/>
              <a:gd name="csY59" fmla="*/ 208971 h 729434"/>
              <a:gd name="csX60" fmla="*/ 965917 w 1871999"/>
              <a:gd name="csY60" fmla="*/ 208971 h 729434"/>
              <a:gd name="csX61" fmla="*/ 984038 w 1871999"/>
              <a:gd name="csY61" fmla="*/ 212826 h 729434"/>
              <a:gd name="csX62" fmla="*/ 1012686 w 1871999"/>
              <a:gd name="csY62" fmla="*/ 227454 h 729434"/>
              <a:gd name="csX63" fmla="*/ 1032489 w 1871999"/>
              <a:gd name="csY63" fmla="*/ 278082 h 729434"/>
              <a:gd name="csX64" fmla="*/ 1028113 w 1871999"/>
              <a:gd name="csY64" fmla="*/ 352725 h 729434"/>
              <a:gd name="csX65" fmla="*/ 1020395 w 1871999"/>
              <a:gd name="csY65" fmla="*/ 452639 h 729434"/>
              <a:gd name="csX66" fmla="*/ 991000 w 1871999"/>
              <a:gd name="csY66" fmla="*/ 496172 h 729434"/>
              <a:gd name="csX67" fmla="*/ 976741 w 1871999"/>
              <a:gd name="csY67" fmla="*/ 516811 h 729434"/>
              <a:gd name="csX68" fmla="*/ 961543 w 1871999"/>
              <a:gd name="csY68" fmla="*/ 607239 h 729434"/>
              <a:gd name="csX69" fmla="*/ 961541 w 1871999"/>
              <a:gd name="csY69" fmla="*/ 607234 h 729434"/>
              <a:gd name="csX70" fmla="*/ 946446 w 1871999"/>
              <a:gd name="csY70" fmla="*/ 677818 h 729434"/>
              <a:gd name="csX71" fmla="*/ 882282 w 1871999"/>
              <a:gd name="csY71" fmla="*/ 729431 h 729434"/>
              <a:gd name="csX72" fmla="*/ 819507 w 1871999"/>
              <a:gd name="csY72" fmla="*/ 678024 h 729434"/>
              <a:gd name="csX73" fmla="*/ 803045 w 1871999"/>
              <a:gd name="csY73" fmla="*/ 599769 h 729434"/>
              <a:gd name="csX74" fmla="*/ 796968 w 1871999"/>
              <a:gd name="csY74" fmla="*/ 566494 h 729434"/>
              <a:gd name="csX75" fmla="*/ 789427 w 1871999"/>
              <a:gd name="csY75" fmla="*/ 516495 h 729434"/>
              <a:gd name="csX76" fmla="*/ 775195 w 1871999"/>
              <a:gd name="csY76" fmla="*/ 496481 h 729434"/>
              <a:gd name="csX77" fmla="*/ 745582 w 1871999"/>
              <a:gd name="csY77" fmla="*/ 452906 h 729434"/>
              <a:gd name="csX78" fmla="*/ 733454 w 1871999"/>
              <a:gd name="csY78" fmla="*/ 279156 h 729434"/>
              <a:gd name="csX79" fmla="*/ 755094 w 1871999"/>
              <a:gd name="csY79" fmla="*/ 225982 h 729434"/>
              <a:gd name="csX80" fmla="*/ 777461 w 1871999"/>
              <a:gd name="csY80" fmla="*/ 214295 h 729434"/>
              <a:gd name="csX81" fmla="*/ 800128 w 1871999"/>
              <a:gd name="csY81" fmla="*/ 208982 h 729434"/>
              <a:gd name="csX82" fmla="*/ 825655 w 1871999"/>
              <a:gd name="csY82" fmla="*/ 219515 h 729434"/>
              <a:gd name="csX83" fmla="*/ 861321 w 1871999"/>
              <a:gd name="csY83" fmla="*/ 266716 h 729434"/>
              <a:gd name="csX84" fmla="*/ 904737 w 1871999"/>
              <a:gd name="csY84" fmla="*/ 266701 h 729434"/>
              <a:gd name="csX85" fmla="*/ 940332 w 1871999"/>
              <a:gd name="csY85" fmla="*/ 219515 h 729434"/>
              <a:gd name="csX86" fmla="*/ 965917 w 1871999"/>
              <a:gd name="csY86" fmla="*/ 208971 h 729434"/>
              <a:gd name="csX87" fmla="*/ 599263 w 1871999"/>
              <a:gd name="csY87" fmla="*/ 208971 h 729434"/>
              <a:gd name="csX88" fmla="*/ 617384 w 1871999"/>
              <a:gd name="csY88" fmla="*/ 212826 h 729434"/>
              <a:gd name="csX89" fmla="*/ 646032 w 1871999"/>
              <a:gd name="csY89" fmla="*/ 227454 h 729434"/>
              <a:gd name="csX90" fmla="*/ 665835 w 1871999"/>
              <a:gd name="csY90" fmla="*/ 278082 h 729434"/>
              <a:gd name="csX91" fmla="*/ 661459 w 1871999"/>
              <a:gd name="csY91" fmla="*/ 352725 h 729434"/>
              <a:gd name="csX92" fmla="*/ 653740 w 1871999"/>
              <a:gd name="csY92" fmla="*/ 452639 h 729434"/>
              <a:gd name="csX93" fmla="*/ 624346 w 1871999"/>
              <a:gd name="csY93" fmla="*/ 496172 h 729434"/>
              <a:gd name="csX94" fmla="*/ 610087 w 1871999"/>
              <a:gd name="csY94" fmla="*/ 516811 h 729434"/>
              <a:gd name="csX95" fmla="*/ 594890 w 1871999"/>
              <a:gd name="csY95" fmla="*/ 607239 h 729434"/>
              <a:gd name="csX96" fmla="*/ 594887 w 1871999"/>
              <a:gd name="csY96" fmla="*/ 607234 h 729434"/>
              <a:gd name="csX97" fmla="*/ 579792 w 1871999"/>
              <a:gd name="csY97" fmla="*/ 677818 h 729434"/>
              <a:gd name="csX98" fmla="*/ 515628 w 1871999"/>
              <a:gd name="csY98" fmla="*/ 729431 h 729434"/>
              <a:gd name="csX99" fmla="*/ 452853 w 1871999"/>
              <a:gd name="csY99" fmla="*/ 678024 h 729434"/>
              <a:gd name="csX100" fmla="*/ 436391 w 1871999"/>
              <a:gd name="csY100" fmla="*/ 599769 h 729434"/>
              <a:gd name="csX101" fmla="*/ 430314 w 1871999"/>
              <a:gd name="csY101" fmla="*/ 566494 h 729434"/>
              <a:gd name="csX102" fmla="*/ 422773 w 1871999"/>
              <a:gd name="csY102" fmla="*/ 516495 h 729434"/>
              <a:gd name="csX103" fmla="*/ 408541 w 1871999"/>
              <a:gd name="csY103" fmla="*/ 496481 h 729434"/>
              <a:gd name="csX104" fmla="*/ 378928 w 1871999"/>
              <a:gd name="csY104" fmla="*/ 452906 h 729434"/>
              <a:gd name="csX105" fmla="*/ 366800 w 1871999"/>
              <a:gd name="csY105" fmla="*/ 279156 h 729434"/>
              <a:gd name="csX106" fmla="*/ 388440 w 1871999"/>
              <a:gd name="csY106" fmla="*/ 225982 h 729434"/>
              <a:gd name="csX107" fmla="*/ 410807 w 1871999"/>
              <a:gd name="csY107" fmla="*/ 214295 h 729434"/>
              <a:gd name="csX108" fmla="*/ 433474 w 1871999"/>
              <a:gd name="csY108" fmla="*/ 208982 h 729434"/>
              <a:gd name="csX109" fmla="*/ 459001 w 1871999"/>
              <a:gd name="csY109" fmla="*/ 219515 h 729434"/>
              <a:gd name="csX110" fmla="*/ 494667 w 1871999"/>
              <a:gd name="csY110" fmla="*/ 266716 h 729434"/>
              <a:gd name="csX111" fmla="*/ 538083 w 1871999"/>
              <a:gd name="csY111" fmla="*/ 266701 h 729434"/>
              <a:gd name="csX112" fmla="*/ 573678 w 1871999"/>
              <a:gd name="csY112" fmla="*/ 219515 h 729434"/>
              <a:gd name="csX113" fmla="*/ 599263 w 1871999"/>
              <a:gd name="csY113" fmla="*/ 208971 h 729434"/>
              <a:gd name="csX114" fmla="*/ 232609 w 1871999"/>
              <a:gd name="csY114" fmla="*/ 208971 h 729434"/>
              <a:gd name="csX115" fmla="*/ 250731 w 1871999"/>
              <a:gd name="csY115" fmla="*/ 212826 h 729434"/>
              <a:gd name="csX116" fmla="*/ 279378 w 1871999"/>
              <a:gd name="csY116" fmla="*/ 227454 h 729434"/>
              <a:gd name="csX117" fmla="*/ 299181 w 1871999"/>
              <a:gd name="csY117" fmla="*/ 278082 h 729434"/>
              <a:gd name="csX118" fmla="*/ 294805 w 1871999"/>
              <a:gd name="csY118" fmla="*/ 352725 h 729434"/>
              <a:gd name="csX119" fmla="*/ 287087 w 1871999"/>
              <a:gd name="csY119" fmla="*/ 452639 h 729434"/>
              <a:gd name="csX120" fmla="*/ 257692 w 1871999"/>
              <a:gd name="csY120" fmla="*/ 496172 h 729434"/>
              <a:gd name="csX121" fmla="*/ 243433 w 1871999"/>
              <a:gd name="csY121" fmla="*/ 516811 h 729434"/>
              <a:gd name="csX122" fmla="*/ 228236 w 1871999"/>
              <a:gd name="csY122" fmla="*/ 607239 h 729434"/>
              <a:gd name="csX123" fmla="*/ 228233 w 1871999"/>
              <a:gd name="csY123" fmla="*/ 607234 h 729434"/>
              <a:gd name="csX124" fmla="*/ 213138 w 1871999"/>
              <a:gd name="csY124" fmla="*/ 677818 h 729434"/>
              <a:gd name="csX125" fmla="*/ 148974 w 1871999"/>
              <a:gd name="csY125" fmla="*/ 729431 h 729434"/>
              <a:gd name="csX126" fmla="*/ 86199 w 1871999"/>
              <a:gd name="csY126" fmla="*/ 678024 h 729434"/>
              <a:gd name="csX127" fmla="*/ 69737 w 1871999"/>
              <a:gd name="csY127" fmla="*/ 599769 h 729434"/>
              <a:gd name="csX128" fmla="*/ 63660 w 1871999"/>
              <a:gd name="csY128" fmla="*/ 566494 h 729434"/>
              <a:gd name="csX129" fmla="*/ 56119 w 1871999"/>
              <a:gd name="csY129" fmla="*/ 516495 h 729434"/>
              <a:gd name="csX130" fmla="*/ 41887 w 1871999"/>
              <a:gd name="csY130" fmla="*/ 496481 h 729434"/>
              <a:gd name="csX131" fmla="*/ 12275 w 1871999"/>
              <a:gd name="csY131" fmla="*/ 452906 h 729434"/>
              <a:gd name="csX132" fmla="*/ 147 w 1871999"/>
              <a:gd name="csY132" fmla="*/ 279156 h 729434"/>
              <a:gd name="csX133" fmla="*/ 21786 w 1871999"/>
              <a:gd name="csY133" fmla="*/ 225982 h 729434"/>
              <a:gd name="csX134" fmla="*/ 44153 w 1871999"/>
              <a:gd name="csY134" fmla="*/ 214295 h 729434"/>
              <a:gd name="csX135" fmla="*/ 66820 w 1871999"/>
              <a:gd name="csY135" fmla="*/ 208982 h 729434"/>
              <a:gd name="csX136" fmla="*/ 92347 w 1871999"/>
              <a:gd name="csY136" fmla="*/ 219515 h 729434"/>
              <a:gd name="csX137" fmla="*/ 128013 w 1871999"/>
              <a:gd name="csY137" fmla="*/ 266716 h 729434"/>
              <a:gd name="csX138" fmla="*/ 171429 w 1871999"/>
              <a:gd name="csY138" fmla="*/ 266701 h 729434"/>
              <a:gd name="csX139" fmla="*/ 207024 w 1871999"/>
              <a:gd name="csY139" fmla="*/ 219515 h 729434"/>
              <a:gd name="csX140" fmla="*/ 232609 w 1871999"/>
              <a:gd name="csY140" fmla="*/ 208971 h 729434"/>
              <a:gd name="csX141" fmla="*/ 1616286 w 1871999"/>
              <a:gd name="csY141" fmla="*/ 0 h 729434"/>
              <a:gd name="csX142" fmla="*/ 1705505 w 1871999"/>
              <a:gd name="csY142" fmla="*/ 89294 h 729434"/>
              <a:gd name="csX143" fmla="*/ 1616286 w 1871999"/>
              <a:gd name="csY143" fmla="*/ 178588 h 729434"/>
              <a:gd name="csX144" fmla="*/ 1527068 w 1871999"/>
              <a:gd name="csY144" fmla="*/ 89294 h 729434"/>
              <a:gd name="csX145" fmla="*/ 1616286 w 1871999"/>
              <a:gd name="csY145" fmla="*/ 0 h 729434"/>
              <a:gd name="csX146" fmla="*/ 1249632 w 1871999"/>
              <a:gd name="csY146" fmla="*/ 0 h 729434"/>
              <a:gd name="csX147" fmla="*/ 1338851 w 1871999"/>
              <a:gd name="csY147" fmla="*/ 89294 h 729434"/>
              <a:gd name="csX148" fmla="*/ 1249632 w 1871999"/>
              <a:gd name="csY148" fmla="*/ 178588 h 729434"/>
              <a:gd name="csX149" fmla="*/ 1160414 w 1871999"/>
              <a:gd name="csY149" fmla="*/ 89294 h 729434"/>
              <a:gd name="csX150" fmla="*/ 1249632 w 1871999"/>
              <a:gd name="csY150" fmla="*/ 0 h 729434"/>
              <a:gd name="csX151" fmla="*/ 882979 w 1871999"/>
              <a:gd name="csY151" fmla="*/ 0 h 729434"/>
              <a:gd name="csX152" fmla="*/ 972198 w 1871999"/>
              <a:gd name="csY152" fmla="*/ 89294 h 729434"/>
              <a:gd name="csX153" fmla="*/ 882979 w 1871999"/>
              <a:gd name="csY153" fmla="*/ 178588 h 729434"/>
              <a:gd name="csX154" fmla="*/ 793761 w 1871999"/>
              <a:gd name="csY154" fmla="*/ 89294 h 729434"/>
              <a:gd name="csX155" fmla="*/ 882979 w 1871999"/>
              <a:gd name="csY155" fmla="*/ 0 h 729434"/>
              <a:gd name="csX156" fmla="*/ 516325 w 1871999"/>
              <a:gd name="csY156" fmla="*/ 0 h 729434"/>
              <a:gd name="csX157" fmla="*/ 605544 w 1871999"/>
              <a:gd name="csY157" fmla="*/ 89294 h 729434"/>
              <a:gd name="csX158" fmla="*/ 516325 w 1871999"/>
              <a:gd name="csY158" fmla="*/ 178588 h 729434"/>
              <a:gd name="csX159" fmla="*/ 427107 w 1871999"/>
              <a:gd name="csY159" fmla="*/ 89294 h 729434"/>
              <a:gd name="csX160" fmla="*/ 516325 w 1871999"/>
              <a:gd name="csY160" fmla="*/ 0 h 729434"/>
              <a:gd name="csX161" fmla="*/ 149671 w 1871999"/>
              <a:gd name="csY161" fmla="*/ 0 h 729434"/>
              <a:gd name="csX162" fmla="*/ 238890 w 1871999"/>
              <a:gd name="csY162" fmla="*/ 89294 h 729434"/>
              <a:gd name="csX163" fmla="*/ 149671 w 1871999"/>
              <a:gd name="csY163" fmla="*/ 178588 h 729434"/>
              <a:gd name="csX164" fmla="*/ 60453 w 1871999"/>
              <a:gd name="csY164" fmla="*/ 89294 h 729434"/>
              <a:gd name="csX165" fmla="*/ 149671 w 1871999"/>
              <a:gd name="csY165" fmla="*/ 0 h 72943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</a:cxnLst>
            <a:rect l="l" t="t" r="r" b="b"/>
            <a:pathLst>
              <a:path w="1871999" h="729434">
                <a:moveTo>
                  <a:pt x="1871999" y="217129"/>
                </a:moveTo>
                <a:lnTo>
                  <a:pt x="1871999" y="493700"/>
                </a:lnTo>
                <a:lnTo>
                  <a:pt x="1854898" y="478631"/>
                </a:lnTo>
                <a:cubicBezTo>
                  <a:pt x="1849752" y="471238"/>
                  <a:pt x="1846424" y="462531"/>
                  <a:pt x="1845543" y="452906"/>
                </a:cubicBezTo>
                <a:cubicBezTo>
                  <a:pt x="1840245" y="394983"/>
                  <a:pt x="1836662" y="337245"/>
                  <a:pt x="1833415" y="279156"/>
                </a:cubicBezTo>
                <a:cubicBezTo>
                  <a:pt x="1832236" y="258053"/>
                  <a:pt x="1838086" y="238954"/>
                  <a:pt x="1855055" y="225982"/>
                </a:cubicBezTo>
                <a:close/>
                <a:moveTo>
                  <a:pt x="1699224" y="208971"/>
                </a:moveTo>
                <a:cubicBezTo>
                  <a:pt x="1705319" y="209839"/>
                  <a:pt x="1711365" y="211099"/>
                  <a:pt x="1717345" y="212826"/>
                </a:cubicBezTo>
                <a:cubicBezTo>
                  <a:pt x="1727945" y="215942"/>
                  <a:pt x="1737462" y="220509"/>
                  <a:pt x="1745993" y="227454"/>
                </a:cubicBezTo>
                <a:cubicBezTo>
                  <a:pt x="1761235" y="239995"/>
                  <a:pt x="1766935" y="258637"/>
                  <a:pt x="1765796" y="278082"/>
                </a:cubicBezTo>
                <a:lnTo>
                  <a:pt x="1761420" y="352725"/>
                </a:lnTo>
                <a:lnTo>
                  <a:pt x="1753701" y="452639"/>
                </a:lnTo>
                <a:cubicBezTo>
                  <a:pt x="1751364" y="472412"/>
                  <a:pt x="1740674" y="487546"/>
                  <a:pt x="1724307" y="496172"/>
                </a:cubicBezTo>
                <a:cubicBezTo>
                  <a:pt x="1716480" y="500296"/>
                  <a:pt x="1711224" y="508041"/>
                  <a:pt x="1710048" y="516811"/>
                </a:cubicBezTo>
                <a:cubicBezTo>
                  <a:pt x="1705980" y="547165"/>
                  <a:pt x="1701307" y="577052"/>
                  <a:pt x="1694850" y="607239"/>
                </a:cubicBezTo>
                <a:lnTo>
                  <a:pt x="1694848" y="607234"/>
                </a:lnTo>
                <a:lnTo>
                  <a:pt x="1679753" y="677818"/>
                </a:lnTo>
                <a:cubicBezTo>
                  <a:pt x="1673221" y="708356"/>
                  <a:pt x="1646855" y="729750"/>
                  <a:pt x="1615589" y="729431"/>
                </a:cubicBezTo>
                <a:cubicBezTo>
                  <a:pt x="1584944" y="729120"/>
                  <a:pt x="1559535" y="707911"/>
                  <a:pt x="1552814" y="678024"/>
                </a:cubicBezTo>
                <a:cubicBezTo>
                  <a:pt x="1546959" y="651977"/>
                  <a:pt x="1541167" y="626124"/>
                  <a:pt x="1536352" y="599769"/>
                </a:cubicBezTo>
                <a:lnTo>
                  <a:pt x="1530275" y="566494"/>
                </a:lnTo>
                <a:lnTo>
                  <a:pt x="1522734" y="516495"/>
                </a:lnTo>
                <a:cubicBezTo>
                  <a:pt x="1521443" y="507939"/>
                  <a:pt x="1516126" y="500571"/>
                  <a:pt x="1508502" y="496481"/>
                </a:cubicBezTo>
                <a:cubicBezTo>
                  <a:pt x="1492202" y="487732"/>
                  <a:pt x="1480651" y="472156"/>
                  <a:pt x="1478889" y="452906"/>
                </a:cubicBezTo>
                <a:cubicBezTo>
                  <a:pt x="1473591" y="394983"/>
                  <a:pt x="1470008" y="337245"/>
                  <a:pt x="1466761" y="279156"/>
                </a:cubicBezTo>
                <a:cubicBezTo>
                  <a:pt x="1465582" y="258053"/>
                  <a:pt x="1471432" y="238954"/>
                  <a:pt x="1488401" y="225982"/>
                </a:cubicBezTo>
                <a:cubicBezTo>
                  <a:pt x="1495236" y="220780"/>
                  <a:pt x="1502586" y="217226"/>
                  <a:pt x="1510768" y="214295"/>
                </a:cubicBezTo>
                <a:cubicBezTo>
                  <a:pt x="1518181" y="211855"/>
                  <a:pt x="1525730" y="210111"/>
                  <a:pt x="1533435" y="208982"/>
                </a:cubicBezTo>
                <a:cubicBezTo>
                  <a:pt x="1543219" y="207546"/>
                  <a:pt x="1553000" y="211625"/>
                  <a:pt x="1558962" y="219515"/>
                </a:cubicBezTo>
                <a:lnTo>
                  <a:pt x="1594628" y="266716"/>
                </a:lnTo>
                <a:cubicBezTo>
                  <a:pt x="1605517" y="281126"/>
                  <a:pt x="1627165" y="281119"/>
                  <a:pt x="1638044" y="266701"/>
                </a:cubicBezTo>
                <a:lnTo>
                  <a:pt x="1673639" y="219515"/>
                </a:lnTo>
                <a:cubicBezTo>
                  <a:pt x="1679609" y="211603"/>
                  <a:pt x="1689408" y="207575"/>
                  <a:pt x="1699224" y="208971"/>
                </a:cubicBezTo>
                <a:close/>
                <a:moveTo>
                  <a:pt x="1332570" y="208971"/>
                </a:moveTo>
                <a:cubicBezTo>
                  <a:pt x="1338665" y="209839"/>
                  <a:pt x="1344711" y="211099"/>
                  <a:pt x="1350691" y="212826"/>
                </a:cubicBezTo>
                <a:cubicBezTo>
                  <a:pt x="1361291" y="215942"/>
                  <a:pt x="1370808" y="220509"/>
                  <a:pt x="1379339" y="227454"/>
                </a:cubicBezTo>
                <a:cubicBezTo>
                  <a:pt x="1394581" y="239995"/>
                  <a:pt x="1400281" y="258637"/>
                  <a:pt x="1399142" y="278082"/>
                </a:cubicBezTo>
                <a:lnTo>
                  <a:pt x="1394766" y="352725"/>
                </a:lnTo>
                <a:lnTo>
                  <a:pt x="1387047" y="452639"/>
                </a:lnTo>
                <a:cubicBezTo>
                  <a:pt x="1384710" y="472412"/>
                  <a:pt x="1374020" y="487546"/>
                  <a:pt x="1357653" y="496172"/>
                </a:cubicBezTo>
                <a:cubicBezTo>
                  <a:pt x="1349826" y="500296"/>
                  <a:pt x="1344570" y="508041"/>
                  <a:pt x="1343394" y="516811"/>
                </a:cubicBezTo>
                <a:cubicBezTo>
                  <a:pt x="1339326" y="547165"/>
                  <a:pt x="1334653" y="577052"/>
                  <a:pt x="1328196" y="607239"/>
                </a:cubicBezTo>
                <a:lnTo>
                  <a:pt x="1328194" y="607234"/>
                </a:lnTo>
                <a:lnTo>
                  <a:pt x="1313099" y="677818"/>
                </a:lnTo>
                <a:cubicBezTo>
                  <a:pt x="1306567" y="708356"/>
                  <a:pt x="1280201" y="729750"/>
                  <a:pt x="1248935" y="729431"/>
                </a:cubicBezTo>
                <a:cubicBezTo>
                  <a:pt x="1218289" y="729120"/>
                  <a:pt x="1192881" y="707911"/>
                  <a:pt x="1186160" y="678024"/>
                </a:cubicBezTo>
                <a:cubicBezTo>
                  <a:pt x="1180306" y="651977"/>
                  <a:pt x="1174513" y="626124"/>
                  <a:pt x="1169698" y="599769"/>
                </a:cubicBezTo>
                <a:lnTo>
                  <a:pt x="1163621" y="566494"/>
                </a:lnTo>
                <a:lnTo>
                  <a:pt x="1156080" y="516495"/>
                </a:lnTo>
                <a:cubicBezTo>
                  <a:pt x="1154789" y="507939"/>
                  <a:pt x="1149472" y="500571"/>
                  <a:pt x="1141848" y="496481"/>
                </a:cubicBezTo>
                <a:cubicBezTo>
                  <a:pt x="1125548" y="487732"/>
                  <a:pt x="1113997" y="472156"/>
                  <a:pt x="1112236" y="452906"/>
                </a:cubicBezTo>
                <a:cubicBezTo>
                  <a:pt x="1106937" y="394983"/>
                  <a:pt x="1103354" y="337245"/>
                  <a:pt x="1100107" y="279156"/>
                </a:cubicBezTo>
                <a:cubicBezTo>
                  <a:pt x="1098928" y="258053"/>
                  <a:pt x="1104778" y="238954"/>
                  <a:pt x="1121747" y="225982"/>
                </a:cubicBezTo>
                <a:cubicBezTo>
                  <a:pt x="1128583" y="220780"/>
                  <a:pt x="1135932" y="217226"/>
                  <a:pt x="1144114" y="214295"/>
                </a:cubicBezTo>
                <a:cubicBezTo>
                  <a:pt x="1151527" y="211855"/>
                  <a:pt x="1159076" y="210111"/>
                  <a:pt x="1166781" y="208982"/>
                </a:cubicBezTo>
                <a:cubicBezTo>
                  <a:pt x="1176565" y="207546"/>
                  <a:pt x="1186346" y="211625"/>
                  <a:pt x="1192308" y="219515"/>
                </a:cubicBezTo>
                <a:lnTo>
                  <a:pt x="1227974" y="266716"/>
                </a:lnTo>
                <a:cubicBezTo>
                  <a:pt x="1238863" y="281126"/>
                  <a:pt x="1260511" y="281119"/>
                  <a:pt x="1271390" y="266701"/>
                </a:cubicBezTo>
                <a:lnTo>
                  <a:pt x="1306985" y="219515"/>
                </a:lnTo>
                <a:cubicBezTo>
                  <a:pt x="1312955" y="211603"/>
                  <a:pt x="1322755" y="207575"/>
                  <a:pt x="1332570" y="208971"/>
                </a:cubicBezTo>
                <a:close/>
                <a:moveTo>
                  <a:pt x="965917" y="208971"/>
                </a:moveTo>
                <a:cubicBezTo>
                  <a:pt x="972012" y="209839"/>
                  <a:pt x="978058" y="211099"/>
                  <a:pt x="984038" y="212826"/>
                </a:cubicBezTo>
                <a:cubicBezTo>
                  <a:pt x="994638" y="215942"/>
                  <a:pt x="1004155" y="220509"/>
                  <a:pt x="1012686" y="227454"/>
                </a:cubicBezTo>
                <a:cubicBezTo>
                  <a:pt x="1027928" y="239995"/>
                  <a:pt x="1033628" y="258637"/>
                  <a:pt x="1032489" y="278082"/>
                </a:cubicBezTo>
                <a:lnTo>
                  <a:pt x="1028113" y="352725"/>
                </a:lnTo>
                <a:lnTo>
                  <a:pt x="1020395" y="452639"/>
                </a:lnTo>
                <a:cubicBezTo>
                  <a:pt x="1018057" y="472412"/>
                  <a:pt x="1007367" y="487546"/>
                  <a:pt x="991000" y="496172"/>
                </a:cubicBezTo>
                <a:cubicBezTo>
                  <a:pt x="983173" y="500296"/>
                  <a:pt x="977917" y="508041"/>
                  <a:pt x="976741" y="516811"/>
                </a:cubicBezTo>
                <a:cubicBezTo>
                  <a:pt x="972673" y="547165"/>
                  <a:pt x="968000" y="577052"/>
                  <a:pt x="961543" y="607239"/>
                </a:cubicBezTo>
                <a:lnTo>
                  <a:pt x="961541" y="607234"/>
                </a:lnTo>
                <a:lnTo>
                  <a:pt x="946446" y="677818"/>
                </a:lnTo>
                <a:cubicBezTo>
                  <a:pt x="939914" y="708356"/>
                  <a:pt x="913548" y="729750"/>
                  <a:pt x="882282" y="729431"/>
                </a:cubicBezTo>
                <a:cubicBezTo>
                  <a:pt x="851637" y="729120"/>
                  <a:pt x="826228" y="707911"/>
                  <a:pt x="819507" y="678024"/>
                </a:cubicBezTo>
                <a:cubicBezTo>
                  <a:pt x="813652" y="651977"/>
                  <a:pt x="807860" y="626124"/>
                  <a:pt x="803045" y="599769"/>
                </a:cubicBezTo>
                <a:lnTo>
                  <a:pt x="796968" y="566494"/>
                </a:lnTo>
                <a:lnTo>
                  <a:pt x="789427" y="516495"/>
                </a:lnTo>
                <a:cubicBezTo>
                  <a:pt x="788136" y="507939"/>
                  <a:pt x="782820" y="500571"/>
                  <a:pt x="775195" y="496481"/>
                </a:cubicBezTo>
                <a:cubicBezTo>
                  <a:pt x="758895" y="487732"/>
                  <a:pt x="747344" y="472156"/>
                  <a:pt x="745582" y="452906"/>
                </a:cubicBezTo>
                <a:cubicBezTo>
                  <a:pt x="740284" y="394983"/>
                  <a:pt x="736701" y="337245"/>
                  <a:pt x="733454" y="279156"/>
                </a:cubicBezTo>
                <a:cubicBezTo>
                  <a:pt x="732275" y="258053"/>
                  <a:pt x="738125" y="238954"/>
                  <a:pt x="755094" y="225982"/>
                </a:cubicBezTo>
                <a:cubicBezTo>
                  <a:pt x="761929" y="220780"/>
                  <a:pt x="769279" y="217226"/>
                  <a:pt x="777461" y="214295"/>
                </a:cubicBezTo>
                <a:cubicBezTo>
                  <a:pt x="784874" y="211855"/>
                  <a:pt x="792423" y="210111"/>
                  <a:pt x="800128" y="208982"/>
                </a:cubicBezTo>
                <a:cubicBezTo>
                  <a:pt x="809912" y="207546"/>
                  <a:pt x="819693" y="211625"/>
                  <a:pt x="825655" y="219515"/>
                </a:cubicBezTo>
                <a:lnTo>
                  <a:pt x="861321" y="266716"/>
                </a:lnTo>
                <a:cubicBezTo>
                  <a:pt x="872210" y="281126"/>
                  <a:pt x="893858" y="281119"/>
                  <a:pt x="904737" y="266701"/>
                </a:cubicBezTo>
                <a:lnTo>
                  <a:pt x="940332" y="219515"/>
                </a:lnTo>
                <a:cubicBezTo>
                  <a:pt x="946302" y="211603"/>
                  <a:pt x="956101" y="207575"/>
                  <a:pt x="965917" y="208971"/>
                </a:cubicBezTo>
                <a:close/>
                <a:moveTo>
                  <a:pt x="599263" y="208971"/>
                </a:moveTo>
                <a:cubicBezTo>
                  <a:pt x="605358" y="209839"/>
                  <a:pt x="611404" y="211099"/>
                  <a:pt x="617384" y="212826"/>
                </a:cubicBezTo>
                <a:cubicBezTo>
                  <a:pt x="627984" y="215942"/>
                  <a:pt x="637501" y="220509"/>
                  <a:pt x="646032" y="227454"/>
                </a:cubicBezTo>
                <a:cubicBezTo>
                  <a:pt x="661274" y="239995"/>
                  <a:pt x="666974" y="258637"/>
                  <a:pt x="665835" y="278082"/>
                </a:cubicBezTo>
                <a:lnTo>
                  <a:pt x="661459" y="352725"/>
                </a:lnTo>
                <a:lnTo>
                  <a:pt x="653740" y="452639"/>
                </a:lnTo>
                <a:cubicBezTo>
                  <a:pt x="651403" y="472412"/>
                  <a:pt x="640713" y="487546"/>
                  <a:pt x="624346" y="496172"/>
                </a:cubicBezTo>
                <a:cubicBezTo>
                  <a:pt x="616519" y="500296"/>
                  <a:pt x="611263" y="508041"/>
                  <a:pt x="610087" y="516811"/>
                </a:cubicBezTo>
                <a:cubicBezTo>
                  <a:pt x="606019" y="547165"/>
                  <a:pt x="601346" y="577052"/>
                  <a:pt x="594890" y="607239"/>
                </a:cubicBezTo>
                <a:lnTo>
                  <a:pt x="594887" y="607234"/>
                </a:lnTo>
                <a:lnTo>
                  <a:pt x="579792" y="677818"/>
                </a:lnTo>
                <a:cubicBezTo>
                  <a:pt x="573260" y="708356"/>
                  <a:pt x="546894" y="729750"/>
                  <a:pt x="515628" y="729431"/>
                </a:cubicBezTo>
                <a:cubicBezTo>
                  <a:pt x="484983" y="729120"/>
                  <a:pt x="459574" y="707911"/>
                  <a:pt x="452853" y="678024"/>
                </a:cubicBezTo>
                <a:cubicBezTo>
                  <a:pt x="446998" y="651977"/>
                  <a:pt x="441206" y="626124"/>
                  <a:pt x="436391" y="599769"/>
                </a:cubicBezTo>
                <a:lnTo>
                  <a:pt x="430314" y="566494"/>
                </a:lnTo>
                <a:lnTo>
                  <a:pt x="422773" y="516495"/>
                </a:lnTo>
                <a:cubicBezTo>
                  <a:pt x="421482" y="507939"/>
                  <a:pt x="416166" y="500571"/>
                  <a:pt x="408541" y="496481"/>
                </a:cubicBezTo>
                <a:cubicBezTo>
                  <a:pt x="392241" y="487732"/>
                  <a:pt x="380690" y="472156"/>
                  <a:pt x="378928" y="452906"/>
                </a:cubicBezTo>
                <a:cubicBezTo>
                  <a:pt x="373630" y="394983"/>
                  <a:pt x="370047" y="337245"/>
                  <a:pt x="366800" y="279156"/>
                </a:cubicBezTo>
                <a:cubicBezTo>
                  <a:pt x="365621" y="258053"/>
                  <a:pt x="371471" y="238954"/>
                  <a:pt x="388440" y="225982"/>
                </a:cubicBezTo>
                <a:cubicBezTo>
                  <a:pt x="395275" y="220780"/>
                  <a:pt x="402625" y="217226"/>
                  <a:pt x="410807" y="214295"/>
                </a:cubicBezTo>
                <a:cubicBezTo>
                  <a:pt x="418220" y="211855"/>
                  <a:pt x="425769" y="210111"/>
                  <a:pt x="433474" y="208982"/>
                </a:cubicBezTo>
                <a:cubicBezTo>
                  <a:pt x="443258" y="207546"/>
                  <a:pt x="453039" y="211625"/>
                  <a:pt x="459001" y="219515"/>
                </a:cubicBezTo>
                <a:lnTo>
                  <a:pt x="494667" y="266716"/>
                </a:lnTo>
                <a:cubicBezTo>
                  <a:pt x="505556" y="281126"/>
                  <a:pt x="527204" y="281119"/>
                  <a:pt x="538083" y="266701"/>
                </a:cubicBezTo>
                <a:lnTo>
                  <a:pt x="573678" y="219515"/>
                </a:lnTo>
                <a:cubicBezTo>
                  <a:pt x="579648" y="211603"/>
                  <a:pt x="589447" y="207575"/>
                  <a:pt x="599263" y="208971"/>
                </a:cubicBezTo>
                <a:close/>
                <a:moveTo>
                  <a:pt x="232609" y="208971"/>
                </a:moveTo>
                <a:cubicBezTo>
                  <a:pt x="238704" y="209839"/>
                  <a:pt x="244750" y="211099"/>
                  <a:pt x="250731" y="212826"/>
                </a:cubicBezTo>
                <a:cubicBezTo>
                  <a:pt x="261330" y="215942"/>
                  <a:pt x="270847" y="220509"/>
                  <a:pt x="279378" y="227454"/>
                </a:cubicBezTo>
                <a:cubicBezTo>
                  <a:pt x="294620" y="239995"/>
                  <a:pt x="300320" y="258637"/>
                  <a:pt x="299181" y="278082"/>
                </a:cubicBezTo>
                <a:lnTo>
                  <a:pt x="294805" y="352725"/>
                </a:lnTo>
                <a:lnTo>
                  <a:pt x="287087" y="452639"/>
                </a:lnTo>
                <a:cubicBezTo>
                  <a:pt x="284749" y="472412"/>
                  <a:pt x="274059" y="487546"/>
                  <a:pt x="257692" y="496172"/>
                </a:cubicBezTo>
                <a:cubicBezTo>
                  <a:pt x="249865" y="500296"/>
                  <a:pt x="244609" y="508041"/>
                  <a:pt x="243433" y="516811"/>
                </a:cubicBezTo>
                <a:cubicBezTo>
                  <a:pt x="239365" y="547165"/>
                  <a:pt x="234692" y="577052"/>
                  <a:pt x="228236" y="607239"/>
                </a:cubicBezTo>
                <a:lnTo>
                  <a:pt x="228233" y="607234"/>
                </a:lnTo>
                <a:lnTo>
                  <a:pt x="213138" y="677818"/>
                </a:lnTo>
                <a:cubicBezTo>
                  <a:pt x="206606" y="708356"/>
                  <a:pt x="180240" y="729750"/>
                  <a:pt x="148974" y="729431"/>
                </a:cubicBezTo>
                <a:cubicBezTo>
                  <a:pt x="118329" y="729120"/>
                  <a:pt x="92920" y="707911"/>
                  <a:pt x="86199" y="678024"/>
                </a:cubicBezTo>
                <a:cubicBezTo>
                  <a:pt x="80345" y="651977"/>
                  <a:pt x="74552" y="626124"/>
                  <a:pt x="69737" y="599769"/>
                </a:cubicBezTo>
                <a:lnTo>
                  <a:pt x="63660" y="566494"/>
                </a:lnTo>
                <a:lnTo>
                  <a:pt x="56119" y="516495"/>
                </a:lnTo>
                <a:cubicBezTo>
                  <a:pt x="54828" y="507939"/>
                  <a:pt x="49512" y="500571"/>
                  <a:pt x="41887" y="496481"/>
                </a:cubicBezTo>
                <a:cubicBezTo>
                  <a:pt x="25587" y="487732"/>
                  <a:pt x="14036" y="472156"/>
                  <a:pt x="12275" y="452906"/>
                </a:cubicBezTo>
                <a:cubicBezTo>
                  <a:pt x="6976" y="394983"/>
                  <a:pt x="3393" y="337245"/>
                  <a:pt x="147" y="279156"/>
                </a:cubicBezTo>
                <a:cubicBezTo>
                  <a:pt x="-1033" y="258053"/>
                  <a:pt x="4817" y="238954"/>
                  <a:pt x="21786" y="225982"/>
                </a:cubicBezTo>
                <a:cubicBezTo>
                  <a:pt x="28622" y="220780"/>
                  <a:pt x="35971" y="217226"/>
                  <a:pt x="44153" y="214295"/>
                </a:cubicBezTo>
                <a:cubicBezTo>
                  <a:pt x="51566" y="211855"/>
                  <a:pt x="59115" y="210111"/>
                  <a:pt x="66820" y="208982"/>
                </a:cubicBezTo>
                <a:cubicBezTo>
                  <a:pt x="76604" y="207546"/>
                  <a:pt x="86385" y="211625"/>
                  <a:pt x="92347" y="219515"/>
                </a:cubicBezTo>
                <a:lnTo>
                  <a:pt x="128013" y="266716"/>
                </a:lnTo>
                <a:cubicBezTo>
                  <a:pt x="138902" y="281126"/>
                  <a:pt x="160550" y="281119"/>
                  <a:pt x="171429" y="266701"/>
                </a:cubicBezTo>
                <a:lnTo>
                  <a:pt x="207024" y="219515"/>
                </a:lnTo>
                <a:cubicBezTo>
                  <a:pt x="212994" y="211603"/>
                  <a:pt x="222793" y="207575"/>
                  <a:pt x="232609" y="208971"/>
                </a:cubicBezTo>
                <a:close/>
                <a:moveTo>
                  <a:pt x="1616286" y="0"/>
                </a:moveTo>
                <a:cubicBezTo>
                  <a:pt x="1665561" y="0"/>
                  <a:pt x="1705505" y="39978"/>
                  <a:pt x="1705505" y="89294"/>
                </a:cubicBezTo>
                <a:cubicBezTo>
                  <a:pt x="1705505" y="138609"/>
                  <a:pt x="1665561" y="178588"/>
                  <a:pt x="1616286" y="178588"/>
                </a:cubicBezTo>
                <a:cubicBezTo>
                  <a:pt x="1567012" y="178588"/>
                  <a:pt x="1527068" y="138609"/>
                  <a:pt x="1527068" y="89294"/>
                </a:cubicBezTo>
                <a:cubicBezTo>
                  <a:pt x="1527068" y="39978"/>
                  <a:pt x="1567012" y="0"/>
                  <a:pt x="1616286" y="0"/>
                </a:cubicBezTo>
                <a:close/>
                <a:moveTo>
                  <a:pt x="1249632" y="0"/>
                </a:moveTo>
                <a:cubicBezTo>
                  <a:pt x="1298906" y="0"/>
                  <a:pt x="1338851" y="39978"/>
                  <a:pt x="1338851" y="89294"/>
                </a:cubicBezTo>
                <a:cubicBezTo>
                  <a:pt x="1338851" y="138609"/>
                  <a:pt x="1298906" y="178588"/>
                  <a:pt x="1249632" y="178588"/>
                </a:cubicBezTo>
                <a:cubicBezTo>
                  <a:pt x="1200358" y="178588"/>
                  <a:pt x="1160414" y="138609"/>
                  <a:pt x="1160414" y="89294"/>
                </a:cubicBezTo>
                <a:cubicBezTo>
                  <a:pt x="1160414" y="39978"/>
                  <a:pt x="1200358" y="0"/>
                  <a:pt x="1249632" y="0"/>
                </a:cubicBezTo>
                <a:close/>
                <a:moveTo>
                  <a:pt x="882979" y="0"/>
                </a:moveTo>
                <a:cubicBezTo>
                  <a:pt x="932254" y="0"/>
                  <a:pt x="972198" y="39978"/>
                  <a:pt x="972198" y="89294"/>
                </a:cubicBezTo>
                <a:cubicBezTo>
                  <a:pt x="972198" y="138609"/>
                  <a:pt x="932254" y="178588"/>
                  <a:pt x="882979" y="178588"/>
                </a:cubicBezTo>
                <a:cubicBezTo>
                  <a:pt x="833705" y="178588"/>
                  <a:pt x="793761" y="138609"/>
                  <a:pt x="793761" y="89294"/>
                </a:cubicBezTo>
                <a:cubicBezTo>
                  <a:pt x="793761" y="39978"/>
                  <a:pt x="833705" y="0"/>
                  <a:pt x="882979" y="0"/>
                </a:cubicBezTo>
                <a:close/>
                <a:moveTo>
                  <a:pt x="516325" y="0"/>
                </a:moveTo>
                <a:cubicBezTo>
                  <a:pt x="565600" y="0"/>
                  <a:pt x="605544" y="39978"/>
                  <a:pt x="605544" y="89294"/>
                </a:cubicBezTo>
                <a:cubicBezTo>
                  <a:pt x="605544" y="138609"/>
                  <a:pt x="565600" y="178588"/>
                  <a:pt x="516325" y="178588"/>
                </a:cubicBezTo>
                <a:cubicBezTo>
                  <a:pt x="467051" y="178588"/>
                  <a:pt x="427107" y="138609"/>
                  <a:pt x="427107" y="89294"/>
                </a:cubicBezTo>
                <a:cubicBezTo>
                  <a:pt x="427107" y="39978"/>
                  <a:pt x="467051" y="0"/>
                  <a:pt x="516325" y="0"/>
                </a:cubicBezTo>
                <a:close/>
                <a:moveTo>
                  <a:pt x="149671" y="0"/>
                </a:moveTo>
                <a:cubicBezTo>
                  <a:pt x="198946" y="0"/>
                  <a:pt x="238890" y="39978"/>
                  <a:pt x="238890" y="89294"/>
                </a:cubicBezTo>
                <a:cubicBezTo>
                  <a:pt x="238890" y="138609"/>
                  <a:pt x="198946" y="178588"/>
                  <a:pt x="149671" y="178588"/>
                </a:cubicBezTo>
                <a:cubicBezTo>
                  <a:pt x="100397" y="178588"/>
                  <a:pt x="60453" y="138609"/>
                  <a:pt x="60453" y="89294"/>
                </a:cubicBezTo>
                <a:cubicBezTo>
                  <a:pt x="60453" y="39978"/>
                  <a:pt x="100397" y="0"/>
                  <a:pt x="149671" y="0"/>
                </a:cubicBezTo>
                <a:close/>
              </a:path>
            </a:pathLst>
          </a:custGeom>
          <a:gradFill>
            <a:gsLst>
              <a:gs pos="4000">
                <a:schemeClr val="accent2"/>
              </a:gs>
              <a:gs pos="83000">
                <a:schemeClr val="accent2">
                  <a:lumMod val="75000"/>
                </a:schemeClr>
              </a:gs>
            </a:gsLst>
            <a:lin ang="0" scaled="1"/>
          </a:gradFill>
          <a:ln w="52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fr-FR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180CF9A-2290-58A1-BBBE-99D777E16D31}"/>
              </a:ext>
            </a:extLst>
          </p:cNvPr>
          <p:cNvSpPr/>
          <p:nvPr/>
        </p:nvSpPr>
        <p:spPr>
          <a:xfrm flipH="1">
            <a:off x="2366711" y="2060725"/>
            <a:ext cx="1375032" cy="581185"/>
          </a:xfrm>
          <a:custGeom>
            <a:avLst/>
            <a:gdLst>
              <a:gd name="csX0" fmla="*/ 1532702 w 1725996"/>
              <a:gd name="csY0" fmla="*/ 208989 h 729527"/>
              <a:gd name="csX1" fmla="*/ 1558230 w 1725996"/>
              <a:gd name="csY1" fmla="*/ 219523 h 729527"/>
              <a:gd name="csX2" fmla="*/ 1593894 w 1725996"/>
              <a:gd name="csY2" fmla="*/ 266726 h 729527"/>
              <a:gd name="csX3" fmla="*/ 1615543 w 1725996"/>
              <a:gd name="csY3" fmla="*/ 277526 h 729527"/>
              <a:gd name="csX4" fmla="*/ 1637192 w 1725996"/>
              <a:gd name="csY4" fmla="*/ 266726 h 729527"/>
              <a:gd name="csX5" fmla="*/ 1672856 w 1725996"/>
              <a:gd name="csY5" fmla="*/ 219523 h 729527"/>
              <a:gd name="csX6" fmla="*/ 1698384 w 1725996"/>
              <a:gd name="csY6" fmla="*/ 208989 h 729527"/>
              <a:gd name="csX7" fmla="*/ 1721052 w 1725996"/>
              <a:gd name="csY7" fmla="*/ 214303 h 729527"/>
              <a:gd name="csX8" fmla="*/ 1725996 w 1725996"/>
              <a:gd name="csY8" fmla="*/ 216886 h 729527"/>
              <a:gd name="csX9" fmla="*/ 1725996 w 1725996"/>
              <a:gd name="csY9" fmla="*/ 585640 h 729527"/>
              <a:gd name="csX10" fmla="*/ 1716080 w 1725996"/>
              <a:gd name="csY10" fmla="*/ 597313 h 729527"/>
              <a:gd name="csX11" fmla="*/ 1679009 w 1725996"/>
              <a:gd name="csY11" fmla="*/ 609859 h 729527"/>
              <a:gd name="csX12" fmla="*/ 1660715 w 1725996"/>
              <a:gd name="csY12" fmla="*/ 677552 h 729527"/>
              <a:gd name="csX13" fmla="*/ 1616225 w 1725996"/>
              <a:gd name="csY13" fmla="*/ 729459 h 729527"/>
              <a:gd name="csX14" fmla="*/ 1615540 w 1725996"/>
              <a:gd name="csY14" fmla="*/ 729527 h 729527"/>
              <a:gd name="csX15" fmla="*/ 1614855 w 1725996"/>
              <a:gd name="csY15" fmla="*/ 729459 h 729527"/>
              <a:gd name="csX16" fmla="*/ 1570366 w 1725996"/>
              <a:gd name="csY16" fmla="*/ 677552 h 729527"/>
              <a:gd name="csX17" fmla="*/ 1552071 w 1725996"/>
              <a:gd name="csY17" fmla="*/ 609859 h 729527"/>
              <a:gd name="csX18" fmla="*/ 1492280 w 1725996"/>
              <a:gd name="csY18" fmla="*/ 570566 h 729527"/>
              <a:gd name="csX19" fmla="*/ 1490686 w 1725996"/>
              <a:gd name="csY19" fmla="*/ 532322 h 729527"/>
              <a:gd name="csX20" fmla="*/ 1501983 w 1725996"/>
              <a:gd name="csY20" fmla="*/ 492969 h 729527"/>
              <a:gd name="csX21" fmla="*/ 1478154 w 1725996"/>
              <a:gd name="csY21" fmla="*/ 452921 h 729527"/>
              <a:gd name="csX22" fmla="*/ 1466026 w 1725996"/>
              <a:gd name="csY22" fmla="*/ 279165 h 729527"/>
              <a:gd name="csX23" fmla="*/ 1487667 w 1725996"/>
              <a:gd name="csY23" fmla="*/ 225990 h 729527"/>
              <a:gd name="csX24" fmla="*/ 1510034 w 1725996"/>
              <a:gd name="csY24" fmla="*/ 214303 h 729527"/>
              <a:gd name="csX25" fmla="*/ 1532702 w 1725996"/>
              <a:gd name="csY25" fmla="*/ 208989 h 729527"/>
              <a:gd name="csX26" fmla="*/ 1166233 w 1725996"/>
              <a:gd name="csY26" fmla="*/ 208989 h 729527"/>
              <a:gd name="csX27" fmla="*/ 1191760 w 1725996"/>
              <a:gd name="csY27" fmla="*/ 219523 h 729527"/>
              <a:gd name="csX28" fmla="*/ 1227425 w 1725996"/>
              <a:gd name="csY28" fmla="*/ 266726 h 729527"/>
              <a:gd name="csX29" fmla="*/ 1249073 w 1725996"/>
              <a:gd name="csY29" fmla="*/ 277526 h 729527"/>
              <a:gd name="csX30" fmla="*/ 1270722 w 1725996"/>
              <a:gd name="csY30" fmla="*/ 266726 h 729527"/>
              <a:gd name="csX31" fmla="*/ 1306387 w 1725996"/>
              <a:gd name="csY31" fmla="*/ 219523 h 729527"/>
              <a:gd name="csX32" fmla="*/ 1331914 w 1725996"/>
              <a:gd name="csY32" fmla="*/ 208989 h 729527"/>
              <a:gd name="csX33" fmla="*/ 1354583 w 1725996"/>
              <a:gd name="csY33" fmla="*/ 214303 h 729527"/>
              <a:gd name="csX34" fmla="*/ 1376949 w 1725996"/>
              <a:gd name="csY34" fmla="*/ 225990 h 729527"/>
              <a:gd name="csX35" fmla="*/ 1376944 w 1725996"/>
              <a:gd name="csY35" fmla="*/ 225990 h 729527"/>
              <a:gd name="csX36" fmla="*/ 1398585 w 1725996"/>
              <a:gd name="csY36" fmla="*/ 279165 h 729527"/>
              <a:gd name="csX37" fmla="*/ 1386456 w 1725996"/>
              <a:gd name="csY37" fmla="*/ 452921 h 729527"/>
              <a:gd name="csX38" fmla="*/ 1362628 w 1725996"/>
              <a:gd name="csY38" fmla="*/ 492969 h 729527"/>
              <a:gd name="csX39" fmla="*/ 1373925 w 1725996"/>
              <a:gd name="csY39" fmla="*/ 532322 h 729527"/>
              <a:gd name="csX40" fmla="*/ 1372331 w 1725996"/>
              <a:gd name="csY40" fmla="*/ 570566 h 729527"/>
              <a:gd name="csX41" fmla="*/ 1312540 w 1725996"/>
              <a:gd name="csY41" fmla="*/ 609859 h 729527"/>
              <a:gd name="csX42" fmla="*/ 1294245 w 1725996"/>
              <a:gd name="csY42" fmla="*/ 677552 h 729527"/>
              <a:gd name="csX43" fmla="*/ 1249756 w 1725996"/>
              <a:gd name="csY43" fmla="*/ 729459 h 729527"/>
              <a:gd name="csX44" fmla="*/ 1249071 w 1725996"/>
              <a:gd name="csY44" fmla="*/ 729527 h 729527"/>
              <a:gd name="csX45" fmla="*/ 1248386 w 1725996"/>
              <a:gd name="csY45" fmla="*/ 729459 h 729527"/>
              <a:gd name="csX46" fmla="*/ 1203897 w 1725996"/>
              <a:gd name="csY46" fmla="*/ 677552 h 729527"/>
              <a:gd name="csX47" fmla="*/ 1185602 w 1725996"/>
              <a:gd name="csY47" fmla="*/ 609859 h 729527"/>
              <a:gd name="csX48" fmla="*/ 1125811 w 1725996"/>
              <a:gd name="csY48" fmla="*/ 570566 h 729527"/>
              <a:gd name="csX49" fmla="*/ 1124216 w 1725996"/>
              <a:gd name="csY49" fmla="*/ 532322 h 729527"/>
              <a:gd name="csX50" fmla="*/ 1135514 w 1725996"/>
              <a:gd name="csY50" fmla="*/ 492969 h 729527"/>
              <a:gd name="csX51" fmla="*/ 1111685 w 1725996"/>
              <a:gd name="csY51" fmla="*/ 452921 h 729527"/>
              <a:gd name="csX52" fmla="*/ 1099556 w 1725996"/>
              <a:gd name="csY52" fmla="*/ 279165 h 729527"/>
              <a:gd name="csX53" fmla="*/ 1121197 w 1725996"/>
              <a:gd name="csY53" fmla="*/ 225990 h 729527"/>
              <a:gd name="csX54" fmla="*/ 1143565 w 1725996"/>
              <a:gd name="csY54" fmla="*/ 214303 h 729527"/>
              <a:gd name="csX55" fmla="*/ 1166233 w 1725996"/>
              <a:gd name="csY55" fmla="*/ 208989 h 729527"/>
              <a:gd name="csX56" fmla="*/ 799762 w 1725996"/>
              <a:gd name="csY56" fmla="*/ 208989 h 729527"/>
              <a:gd name="csX57" fmla="*/ 825290 w 1725996"/>
              <a:gd name="csY57" fmla="*/ 219523 h 729527"/>
              <a:gd name="csX58" fmla="*/ 860955 w 1725996"/>
              <a:gd name="csY58" fmla="*/ 266726 h 729527"/>
              <a:gd name="csX59" fmla="*/ 882603 w 1725996"/>
              <a:gd name="csY59" fmla="*/ 277526 h 729527"/>
              <a:gd name="csX60" fmla="*/ 904252 w 1725996"/>
              <a:gd name="csY60" fmla="*/ 266726 h 729527"/>
              <a:gd name="csX61" fmla="*/ 939916 w 1725996"/>
              <a:gd name="csY61" fmla="*/ 219523 h 729527"/>
              <a:gd name="csX62" fmla="*/ 965444 w 1725996"/>
              <a:gd name="csY62" fmla="*/ 208989 h 729527"/>
              <a:gd name="csX63" fmla="*/ 988112 w 1725996"/>
              <a:gd name="csY63" fmla="*/ 214303 h 729527"/>
              <a:gd name="csX64" fmla="*/ 1010480 w 1725996"/>
              <a:gd name="csY64" fmla="*/ 225990 h 729527"/>
              <a:gd name="csX65" fmla="*/ 1010475 w 1725996"/>
              <a:gd name="csY65" fmla="*/ 225990 h 729527"/>
              <a:gd name="csX66" fmla="*/ 1032116 w 1725996"/>
              <a:gd name="csY66" fmla="*/ 279165 h 729527"/>
              <a:gd name="csX67" fmla="*/ 1019987 w 1725996"/>
              <a:gd name="csY67" fmla="*/ 452921 h 729527"/>
              <a:gd name="csX68" fmla="*/ 996158 w 1725996"/>
              <a:gd name="csY68" fmla="*/ 492969 h 729527"/>
              <a:gd name="csX69" fmla="*/ 1007456 w 1725996"/>
              <a:gd name="csY69" fmla="*/ 532322 h 729527"/>
              <a:gd name="csX70" fmla="*/ 1005861 w 1725996"/>
              <a:gd name="csY70" fmla="*/ 570566 h 729527"/>
              <a:gd name="csX71" fmla="*/ 946070 w 1725996"/>
              <a:gd name="csY71" fmla="*/ 609859 h 729527"/>
              <a:gd name="csX72" fmla="*/ 927775 w 1725996"/>
              <a:gd name="csY72" fmla="*/ 677552 h 729527"/>
              <a:gd name="csX73" fmla="*/ 883286 w 1725996"/>
              <a:gd name="csY73" fmla="*/ 729459 h 729527"/>
              <a:gd name="csX74" fmla="*/ 882601 w 1725996"/>
              <a:gd name="csY74" fmla="*/ 729527 h 729527"/>
              <a:gd name="csX75" fmla="*/ 881916 w 1725996"/>
              <a:gd name="csY75" fmla="*/ 729459 h 729527"/>
              <a:gd name="csX76" fmla="*/ 837427 w 1725996"/>
              <a:gd name="csY76" fmla="*/ 677552 h 729527"/>
              <a:gd name="csX77" fmla="*/ 819132 w 1725996"/>
              <a:gd name="csY77" fmla="*/ 609859 h 729527"/>
              <a:gd name="csX78" fmla="*/ 759340 w 1725996"/>
              <a:gd name="csY78" fmla="*/ 570566 h 729527"/>
              <a:gd name="csX79" fmla="*/ 757746 w 1725996"/>
              <a:gd name="csY79" fmla="*/ 532322 h 729527"/>
              <a:gd name="csX80" fmla="*/ 769043 w 1725996"/>
              <a:gd name="csY80" fmla="*/ 492969 h 729527"/>
              <a:gd name="csX81" fmla="*/ 745215 w 1725996"/>
              <a:gd name="csY81" fmla="*/ 452921 h 729527"/>
              <a:gd name="csX82" fmla="*/ 733086 w 1725996"/>
              <a:gd name="csY82" fmla="*/ 279165 h 729527"/>
              <a:gd name="csX83" fmla="*/ 754727 w 1725996"/>
              <a:gd name="csY83" fmla="*/ 225990 h 729527"/>
              <a:gd name="csX84" fmla="*/ 777095 w 1725996"/>
              <a:gd name="csY84" fmla="*/ 214303 h 729527"/>
              <a:gd name="csX85" fmla="*/ 799762 w 1725996"/>
              <a:gd name="csY85" fmla="*/ 208989 h 729527"/>
              <a:gd name="csX86" fmla="*/ 433291 w 1725996"/>
              <a:gd name="csY86" fmla="*/ 208989 h 729527"/>
              <a:gd name="csX87" fmla="*/ 458819 w 1725996"/>
              <a:gd name="csY87" fmla="*/ 219523 h 729527"/>
              <a:gd name="csX88" fmla="*/ 494484 w 1725996"/>
              <a:gd name="csY88" fmla="*/ 266726 h 729527"/>
              <a:gd name="csX89" fmla="*/ 516132 w 1725996"/>
              <a:gd name="csY89" fmla="*/ 277526 h 729527"/>
              <a:gd name="csX90" fmla="*/ 537781 w 1725996"/>
              <a:gd name="csY90" fmla="*/ 266726 h 729527"/>
              <a:gd name="csX91" fmla="*/ 573446 w 1725996"/>
              <a:gd name="csY91" fmla="*/ 219523 h 729527"/>
              <a:gd name="csX92" fmla="*/ 598973 w 1725996"/>
              <a:gd name="csY92" fmla="*/ 208989 h 729527"/>
              <a:gd name="csX93" fmla="*/ 621641 w 1725996"/>
              <a:gd name="csY93" fmla="*/ 214303 h 729527"/>
              <a:gd name="csX94" fmla="*/ 644009 w 1725996"/>
              <a:gd name="csY94" fmla="*/ 225990 h 729527"/>
              <a:gd name="csX95" fmla="*/ 644004 w 1725996"/>
              <a:gd name="csY95" fmla="*/ 225990 h 729527"/>
              <a:gd name="csX96" fmla="*/ 665645 w 1725996"/>
              <a:gd name="csY96" fmla="*/ 279165 h 729527"/>
              <a:gd name="csX97" fmla="*/ 653516 w 1725996"/>
              <a:gd name="csY97" fmla="*/ 452921 h 729527"/>
              <a:gd name="csX98" fmla="*/ 629687 w 1725996"/>
              <a:gd name="csY98" fmla="*/ 492969 h 729527"/>
              <a:gd name="csX99" fmla="*/ 640984 w 1725996"/>
              <a:gd name="csY99" fmla="*/ 532322 h 729527"/>
              <a:gd name="csX100" fmla="*/ 639390 w 1725996"/>
              <a:gd name="csY100" fmla="*/ 570566 h 729527"/>
              <a:gd name="csX101" fmla="*/ 579599 w 1725996"/>
              <a:gd name="csY101" fmla="*/ 609859 h 729527"/>
              <a:gd name="csX102" fmla="*/ 561304 w 1725996"/>
              <a:gd name="csY102" fmla="*/ 677552 h 729527"/>
              <a:gd name="csX103" fmla="*/ 516815 w 1725996"/>
              <a:gd name="csY103" fmla="*/ 729459 h 729527"/>
              <a:gd name="csX104" fmla="*/ 516130 w 1725996"/>
              <a:gd name="csY104" fmla="*/ 729527 h 729527"/>
              <a:gd name="csX105" fmla="*/ 515445 w 1725996"/>
              <a:gd name="csY105" fmla="*/ 729459 h 729527"/>
              <a:gd name="csX106" fmla="*/ 470956 w 1725996"/>
              <a:gd name="csY106" fmla="*/ 677552 h 729527"/>
              <a:gd name="csX107" fmla="*/ 452661 w 1725996"/>
              <a:gd name="csY107" fmla="*/ 609859 h 729527"/>
              <a:gd name="csX108" fmla="*/ 392870 w 1725996"/>
              <a:gd name="csY108" fmla="*/ 570566 h 729527"/>
              <a:gd name="csX109" fmla="*/ 391275 w 1725996"/>
              <a:gd name="csY109" fmla="*/ 532322 h 729527"/>
              <a:gd name="csX110" fmla="*/ 402572 w 1725996"/>
              <a:gd name="csY110" fmla="*/ 492969 h 729527"/>
              <a:gd name="csX111" fmla="*/ 378744 w 1725996"/>
              <a:gd name="csY111" fmla="*/ 452921 h 729527"/>
              <a:gd name="csX112" fmla="*/ 366615 w 1725996"/>
              <a:gd name="csY112" fmla="*/ 279165 h 729527"/>
              <a:gd name="csX113" fmla="*/ 388256 w 1725996"/>
              <a:gd name="csY113" fmla="*/ 225990 h 729527"/>
              <a:gd name="csX114" fmla="*/ 410624 w 1725996"/>
              <a:gd name="csY114" fmla="*/ 214303 h 729527"/>
              <a:gd name="csX115" fmla="*/ 433291 w 1725996"/>
              <a:gd name="csY115" fmla="*/ 208989 h 729527"/>
              <a:gd name="csX116" fmla="*/ 66822 w 1725996"/>
              <a:gd name="csY116" fmla="*/ 208989 h 729527"/>
              <a:gd name="csX117" fmla="*/ 92349 w 1725996"/>
              <a:gd name="csY117" fmla="*/ 219523 h 729527"/>
              <a:gd name="csX118" fmla="*/ 128014 w 1725996"/>
              <a:gd name="csY118" fmla="*/ 266726 h 729527"/>
              <a:gd name="csX119" fmla="*/ 149663 w 1725996"/>
              <a:gd name="csY119" fmla="*/ 277526 h 729527"/>
              <a:gd name="csX120" fmla="*/ 171311 w 1725996"/>
              <a:gd name="csY120" fmla="*/ 266726 h 729527"/>
              <a:gd name="csX121" fmla="*/ 206976 w 1725996"/>
              <a:gd name="csY121" fmla="*/ 219523 h 729527"/>
              <a:gd name="csX122" fmla="*/ 232503 w 1725996"/>
              <a:gd name="csY122" fmla="*/ 208989 h 729527"/>
              <a:gd name="csX123" fmla="*/ 255172 w 1725996"/>
              <a:gd name="csY123" fmla="*/ 214303 h 729527"/>
              <a:gd name="csX124" fmla="*/ 277539 w 1725996"/>
              <a:gd name="csY124" fmla="*/ 225990 h 729527"/>
              <a:gd name="csX125" fmla="*/ 277534 w 1725996"/>
              <a:gd name="csY125" fmla="*/ 225990 h 729527"/>
              <a:gd name="csX126" fmla="*/ 299175 w 1725996"/>
              <a:gd name="csY126" fmla="*/ 279165 h 729527"/>
              <a:gd name="csX127" fmla="*/ 287046 w 1725996"/>
              <a:gd name="csY127" fmla="*/ 452921 h 729527"/>
              <a:gd name="csX128" fmla="*/ 263217 w 1725996"/>
              <a:gd name="csY128" fmla="*/ 492969 h 729527"/>
              <a:gd name="csX129" fmla="*/ 274515 w 1725996"/>
              <a:gd name="csY129" fmla="*/ 532322 h 729527"/>
              <a:gd name="csX130" fmla="*/ 272920 w 1725996"/>
              <a:gd name="csY130" fmla="*/ 570566 h 729527"/>
              <a:gd name="csX131" fmla="*/ 213129 w 1725996"/>
              <a:gd name="csY131" fmla="*/ 609859 h 729527"/>
              <a:gd name="csX132" fmla="*/ 194834 w 1725996"/>
              <a:gd name="csY132" fmla="*/ 677552 h 729527"/>
              <a:gd name="csX133" fmla="*/ 150345 w 1725996"/>
              <a:gd name="csY133" fmla="*/ 729459 h 729527"/>
              <a:gd name="csX134" fmla="*/ 149660 w 1725996"/>
              <a:gd name="csY134" fmla="*/ 729527 h 729527"/>
              <a:gd name="csX135" fmla="*/ 148975 w 1725996"/>
              <a:gd name="csY135" fmla="*/ 729459 h 729527"/>
              <a:gd name="csX136" fmla="*/ 104486 w 1725996"/>
              <a:gd name="csY136" fmla="*/ 677552 h 729527"/>
              <a:gd name="csX137" fmla="*/ 86191 w 1725996"/>
              <a:gd name="csY137" fmla="*/ 609859 h 729527"/>
              <a:gd name="csX138" fmla="*/ 26400 w 1725996"/>
              <a:gd name="csY138" fmla="*/ 570566 h 729527"/>
              <a:gd name="csX139" fmla="*/ 24805 w 1725996"/>
              <a:gd name="csY139" fmla="*/ 532322 h 729527"/>
              <a:gd name="csX140" fmla="*/ 36103 w 1725996"/>
              <a:gd name="csY140" fmla="*/ 492969 h 729527"/>
              <a:gd name="csX141" fmla="*/ 12274 w 1725996"/>
              <a:gd name="csY141" fmla="*/ 452921 h 729527"/>
              <a:gd name="csX142" fmla="*/ 145 w 1725996"/>
              <a:gd name="csY142" fmla="*/ 279165 h 729527"/>
              <a:gd name="csX143" fmla="*/ 21786 w 1725996"/>
              <a:gd name="csY143" fmla="*/ 225990 h 729527"/>
              <a:gd name="csX144" fmla="*/ 44154 w 1725996"/>
              <a:gd name="csY144" fmla="*/ 214303 h 729527"/>
              <a:gd name="csX145" fmla="*/ 66822 w 1725996"/>
              <a:gd name="csY145" fmla="*/ 208989 h 729527"/>
              <a:gd name="csX146" fmla="*/ 1621453 w 1725996"/>
              <a:gd name="csY146" fmla="*/ 0 h 729527"/>
              <a:gd name="csX147" fmla="*/ 1710675 w 1725996"/>
              <a:gd name="csY147" fmla="*/ 89297 h 729527"/>
              <a:gd name="csX148" fmla="*/ 1621453 w 1725996"/>
              <a:gd name="csY148" fmla="*/ 178594 h 729527"/>
              <a:gd name="csX149" fmla="*/ 1532232 w 1725996"/>
              <a:gd name="csY149" fmla="*/ 89297 h 729527"/>
              <a:gd name="csX150" fmla="*/ 1621453 w 1725996"/>
              <a:gd name="csY150" fmla="*/ 0 h 729527"/>
              <a:gd name="csX151" fmla="*/ 1254984 w 1725996"/>
              <a:gd name="csY151" fmla="*/ 0 h 729527"/>
              <a:gd name="csX152" fmla="*/ 1344205 w 1725996"/>
              <a:gd name="csY152" fmla="*/ 89297 h 729527"/>
              <a:gd name="csX153" fmla="*/ 1254984 w 1725996"/>
              <a:gd name="csY153" fmla="*/ 178594 h 729527"/>
              <a:gd name="csX154" fmla="*/ 1165762 w 1725996"/>
              <a:gd name="csY154" fmla="*/ 89297 h 729527"/>
              <a:gd name="csX155" fmla="*/ 1254984 w 1725996"/>
              <a:gd name="csY155" fmla="*/ 0 h 729527"/>
              <a:gd name="csX156" fmla="*/ 888514 w 1725996"/>
              <a:gd name="csY156" fmla="*/ 0 h 729527"/>
              <a:gd name="csX157" fmla="*/ 977735 w 1725996"/>
              <a:gd name="csY157" fmla="*/ 89297 h 729527"/>
              <a:gd name="csX158" fmla="*/ 888514 w 1725996"/>
              <a:gd name="csY158" fmla="*/ 178594 h 729527"/>
              <a:gd name="csX159" fmla="*/ 799292 w 1725996"/>
              <a:gd name="csY159" fmla="*/ 89297 h 729527"/>
              <a:gd name="csX160" fmla="*/ 888514 w 1725996"/>
              <a:gd name="csY160" fmla="*/ 0 h 729527"/>
              <a:gd name="csX161" fmla="*/ 522043 w 1725996"/>
              <a:gd name="csY161" fmla="*/ 0 h 729527"/>
              <a:gd name="csX162" fmla="*/ 611264 w 1725996"/>
              <a:gd name="csY162" fmla="*/ 89297 h 729527"/>
              <a:gd name="csX163" fmla="*/ 522043 w 1725996"/>
              <a:gd name="csY163" fmla="*/ 178594 h 729527"/>
              <a:gd name="csX164" fmla="*/ 432821 w 1725996"/>
              <a:gd name="csY164" fmla="*/ 89297 h 729527"/>
              <a:gd name="csX165" fmla="*/ 522043 w 1725996"/>
              <a:gd name="csY165" fmla="*/ 0 h 729527"/>
              <a:gd name="csX166" fmla="*/ 155573 w 1725996"/>
              <a:gd name="csY166" fmla="*/ 0 h 729527"/>
              <a:gd name="csX167" fmla="*/ 244794 w 1725996"/>
              <a:gd name="csY167" fmla="*/ 89297 h 729527"/>
              <a:gd name="csX168" fmla="*/ 155573 w 1725996"/>
              <a:gd name="csY168" fmla="*/ 178594 h 729527"/>
              <a:gd name="csX169" fmla="*/ 66351 w 1725996"/>
              <a:gd name="csY169" fmla="*/ 89297 h 729527"/>
              <a:gd name="csX170" fmla="*/ 155573 w 1725996"/>
              <a:gd name="csY170" fmla="*/ 0 h 72952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</a:cxnLst>
            <a:rect l="l" t="t" r="r" b="b"/>
            <a:pathLst>
              <a:path w="1725996" h="729527">
                <a:moveTo>
                  <a:pt x="1532702" y="208989"/>
                </a:moveTo>
                <a:cubicBezTo>
                  <a:pt x="1542486" y="207557"/>
                  <a:pt x="1552267" y="211634"/>
                  <a:pt x="1558230" y="219523"/>
                </a:cubicBezTo>
                <a:lnTo>
                  <a:pt x="1593894" y="266726"/>
                </a:lnTo>
                <a:cubicBezTo>
                  <a:pt x="1599324" y="273911"/>
                  <a:pt x="1607429" y="277511"/>
                  <a:pt x="1615543" y="277526"/>
                </a:cubicBezTo>
                <a:cubicBezTo>
                  <a:pt x="1623654" y="277511"/>
                  <a:pt x="1631762" y="273911"/>
                  <a:pt x="1637192" y="266726"/>
                </a:cubicBezTo>
                <a:lnTo>
                  <a:pt x="1672856" y="219523"/>
                </a:lnTo>
                <a:cubicBezTo>
                  <a:pt x="1678819" y="211632"/>
                  <a:pt x="1688600" y="207554"/>
                  <a:pt x="1698384" y="208989"/>
                </a:cubicBezTo>
                <a:cubicBezTo>
                  <a:pt x="1706090" y="210118"/>
                  <a:pt x="1713639" y="211862"/>
                  <a:pt x="1721052" y="214303"/>
                </a:cubicBezTo>
                <a:lnTo>
                  <a:pt x="1725996" y="216886"/>
                </a:lnTo>
                <a:lnTo>
                  <a:pt x="1725996" y="585640"/>
                </a:lnTo>
                <a:lnTo>
                  <a:pt x="1716080" y="597313"/>
                </a:lnTo>
                <a:cubicBezTo>
                  <a:pt x="1705725" y="604102"/>
                  <a:pt x="1692978" y="608523"/>
                  <a:pt x="1679009" y="609859"/>
                </a:cubicBezTo>
                <a:cubicBezTo>
                  <a:pt x="1668724" y="634877"/>
                  <a:pt x="1663446" y="658224"/>
                  <a:pt x="1660715" y="677552"/>
                </a:cubicBezTo>
                <a:cubicBezTo>
                  <a:pt x="1660610" y="704559"/>
                  <a:pt x="1640564" y="726712"/>
                  <a:pt x="1616225" y="729459"/>
                </a:cubicBezTo>
                <a:cubicBezTo>
                  <a:pt x="1615998" y="729486"/>
                  <a:pt x="1615768" y="729504"/>
                  <a:pt x="1615540" y="729527"/>
                </a:cubicBezTo>
                <a:cubicBezTo>
                  <a:pt x="1615313" y="729504"/>
                  <a:pt x="1615083" y="729486"/>
                  <a:pt x="1614855" y="729459"/>
                </a:cubicBezTo>
                <a:cubicBezTo>
                  <a:pt x="1590517" y="726712"/>
                  <a:pt x="1570471" y="704559"/>
                  <a:pt x="1570366" y="677552"/>
                </a:cubicBezTo>
                <a:cubicBezTo>
                  <a:pt x="1567637" y="658222"/>
                  <a:pt x="1562357" y="634877"/>
                  <a:pt x="1552071" y="609859"/>
                </a:cubicBezTo>
                <a:cubicBezTo>
                  <a:pt x="1524134" y="607187"/>
                  <a:pt x="1501084" y="592173"/>
                  <a:pt x="1492280" y="570566"/>
                </a:cubicBezTo>
                <a:cubicBezTo>
                  <a:pt x="1485986" y="555121"/>
                  <a:pt x="1488574" y="540226"/>
                  <a:pt x="1490686" y="532322"/>
                </a:cubicBezTo>
                <a:lnTo>
                  <a:pt x="1501983" y="492969"/>
                </a:lnTo>
                <a:cubicBezTo>
                  <a:pt x="1488778" y="483865"/>
                  <a:pt x="1479699" y="469807"/>
                  <a:pt x="1478154" y="452921"/>
                </a:cubicBezTo>
                <a:cubicBezTo>
                  <a:pt x="1472856" y="394996"/>
                  <a:pt x="1469272" y="337255"/>
                  <a:pt x="1466026" y="279165"/>
                </a:cubicBezTo>
                <a:cubicBezTo>
                  <a:pt x="1464847" y="258060"/>
                  <a:pt x="1470697" y="238963"/>
                  <a:pt x="1487667" y="225990"/>
                </a:cubicBezTo>
                <a:cubicBezTo>
                  <a:pt x="1494502" y="220788"/>
                  <a:pt x="1501855" y="217233"/>
                  <a:pt x="1510034" y="214303"/>
                </a:cubicBezTo>
                <a:cubicBezTo>
                  <a:pt x="1517447" y="211864"/>
                  <a:pt x="1524999" y="210118"/>
                  <a:pt x="1532702" y="208989"/>
                </a:cubicBezTo>
                <a:close/>
                <a:moveTo>
                  <a:pt x="1166233" y="208989"/>
                </a:moveTo>
                <a:cubicBezTo>
                  <a:pt x="1176017" y="207557"/>
                  <a:pt x="1185798" y="211634"/>
                  <a:pt x="1191760" y="219523"/>
                </a:cubicBezTo>
                <a:lnTo>
                  <a:pt x="1227425" y="266726"/>
                </a:lnTo>
                <a:cubicBezTo>
                  <a:pt x="1232854" y="273911"/>
                  <a:pt x="1240959" y="277511"/>
                  <a:pt x="1249073" y="277526"/>
                </a:cubicBezTo>
                <a:cubicBezTo>
                  <a:pt x="1257185" y="277511"/>
                  <a:pt x="1265293" y="273911"/>
                  <a:pt x="1270722" y="266726"/>
                </a:cubicBezTo>
                <a:lnTo>
                  <a:pt x="1306387" y="219523"/>
                </a:lnTo>
                <a:cubicBezTo>
                  <a:pt x="1312349" y="211632"/>
                  <a:pt x="1322130" y="207554"/>
                  <a:pt x="1331914" y="208989"/>
                </a:cubicBezTo>
                <a:cubicBezTo>
                  <a:pt x="1339620" y="210118"/>
                  <a:pt x="1347169" y="211862"/>
                  <a:pt x="1354583" y="214303"/>
                </a:cubicBezTo>
                <a:cubicBezTo>
                  <a:pt x="1362764" y="217233"/>
                  <a:pt x="1370114" y="220788"/>
                  <a:pt x="1376949" y="225990"/>
                </a:cubicBezTo>
                <a:lnTo>
                  <a:pt x="1376944" y="225990"/>
                </a:lnTo>
                <a:cubicBezTo>
                  <a:pt x="1393914" y="238963"/>
                  <a:pt x="1399764" y="258063"/>
                  <a:pt x="1398585" y="279165"/>
                </a:cubicBezTo>
                <a:cubicBezTo>
                  <a:pt x="1395338" y="337257"/>
                  <a:pt x="1391755" y="394996"/>
                  <a:pt x="1386456" y="452921"/>
                </a:cubicBezTo>
                <a:cubicBezTo>
                  <a:pt x="1384911" y="469807"/>
                  <a:pt x="1375833" y="483865"/>
                  <a:pt x="1362628" y="492969"/>
                </a:cubicBezTo>
                <a:lnTo>
                  <a:pt x="1373925" y="532322"/>
                </a:lnTo>
                <a:cubicBezTo>
                  <a:pt x="1376040" y="540224"/>
                  <a:pt x="1378625" y="555118"/>
                  <a:pt x="1372331" y="570566"/>
                </a:cubicBezTo>
                <a:cubicBezTo>
                  <a:pt x="1363527" y="592173"/>
                  <a:pt x="1340478" y="607187"/>
                  <a:pt x="1312540" y="609859"/>
                </a:cubicBezTo>
                <a:cubicBezTo>
                  <a:pt x="1302254" y="634877"/>
                  <a:pt x="1296977" y="658224"/>
                  <a:pt x="1294245" y="677552"/>
                </a:cubicBezTo>
                <a:cubicBezTo>
                  <a:pt x="1294140" y="704559"/>
                  <a:pt x="1274094" y="726712"/>
                  <a:pt x="1249756" y="729459"/>
                </a:cubicBezTo>
                <a:cubicBezTo>
                  <a:pt x="1249528" y="729486"/>
                  <a:pt x="1249298" y="729504"/>
                  <a:pt x="1249071" y="729527"/>
                </a:cubicBezTo>
                <a:cubicBezTo>
                  <a:pt x="1248843" y="729504"/>
                  <a:pt x="1248613" y="729486"/>
                  <a:pt x="1248386" y="729459"/>
                </a:cubicBezTo>
                <a:cubicBezTo>
                  <a:pt x="1224048" y="726712"/>
                  <a:pt x="1204001" y="704559"/>
                  <a:pt x="1203897" y="677552"/>
                </a:cubicBezTo>
                <a:cubicBezTo>
                  <a:pt x="1201167" y="658222"/>
                  <a:pt x="1195888" y="634877"/>
                  <a:pt x="1185602" y="609859"/>
                </a:cubicBezTo>
                <a:cubicBezTo>
                  <a:pt x="1157664" y="607187"/>
                  <a:pt x="1134614" y="592173"/>
                  <a:pt x="1125811" y="570566"/>
                </a:cubicBezTo>
                <a:cubicBezTo>
                  <a:pt x="1119516" y="555121"/>
                  <a:pt x="1122104" y="540226"/>
                  <a:pt x="1124216" y="532322"/>
                </a:cubicBezTo>
                <a:lnTo>
                  <a:pt x="1135514" y="492969"/>
                </a:lnTo>
                <a:cubicBezTo>
                  <a:pt x="1122308" y="483865"/>
                  <a:pt x="1113230" y="469807"/>
                  <a:pt x="1111685" y="452921"/>
                </a:cubicBezTo>
                <a:cubicBezTo>
                  <a:pt x="1106386" y="394996"/>
                  <a:pt x="1102803" y="337255"/>
                  <a:pt x="1099556" y="279165"/>
                </a:cubicBezTo>
                <a:cubicBezTo>
                  <a:pt x="1098377" y="258060"/>
                  <a:pt x="1104227" y="238963"/>
                  <a:pt x="1121197" y="225990"/>
                </a:cubicBezTo>
                <a:cubicBezTo>
                  <a:pt x="1128032" y="220788"/>
                  <a:pt x="1135385" y="217233"/>
                  <a:pt x="1143565" y="214303"/>
                </a:cubicBezTo>
                <a:cubicBezTo>
                  <a:pt x="1150978" y="211864"/>
                  <a:pt x="1158529" y="210118"/>
                  <a:pt x="1166233" y="208989"/>
                </a:cubicBezTo>
                <a:close/>
                <a:moveTo>
                  <a:pt x="799762" y="208989"/>
                </a:moveTo>
                <a:cubicBezTo>
                  <a:pt x="809546" y="207557"/>
                  <a:pt x="819328" y="211634"/>
                  <a:pt x="825290" y="219523"/>
                </a:cubicBezTo>
                <a:lnTo>
                  <a:pt x="860955" y="266726"/>
                </a:lnTo>
                <a:cubicBezTo>
                  <a:pt x="866384" y="273911"/>
                  <a:pt x="874490" y="277511"/>
                  <a:pt x="882603" y="277526"/>
                </a:cubicBezTo>
                <a:cubicBezTo>
                  <a:pt x="890715" y="277511"/>
                  <a:pt x="898823" y="273911"/>
                  <a:pt x="904252" y="266726"/>
                </a:cubicBezTo>
                <a:lnTo>
                  <a:pt x="939916" y="219523"/>
                </a:lnTo>
                <a:cubicBezTo>
                  <a:pt x="945879" y="211632"/>
                  <a:pt x="955660" y="207554"/>
                  <a:pt x="965444" y="208989"/>
                </a:cubicBezTo>
                <a:cubicBezTo>
                  <a:pt x="973150" y="210118"/>
                  <a:pt x="980699" y="211862"/>
                  <a:pt x="988112" y="214303"/>
                </a:cubicBezTo>
                <a:cubicBezTo>
                  <a:pt x="996294" y="217233"/>
                  <a:pt x="1003644" y="220788"/>
                  <a:pt x="1010480" y="225990"/>
                </a:cubicBezTo>
                <a:lnTo>
                  <a:pt x="1010475" y="225990"/>
                </a:lnTo>
                <a:cubicBezTo>
                  <a:pt x="1027444" y="238963"/>
                  <a:pt x="1033294" y="258063"/>
                  <a:pt x="1032116" y="279165"/>
                </a:cubicBezTo>
                <a:cubicBezTo>
                  <a:pt x="1028869" y="337257"/>
                  <a:pt x="1025285" y="394996"/>
                  <a:pt x="1019987" y="452921"/>
                </a:cubicBezTo>
                <a:cubicBezTo>
                  <a:pt x="1018442" y="469807"/>
                  <a:pt x="1009364" y="483865"/>
                  <a:pt x="996158" y="492969"/>
                </a:cubicBezTo>
                <a:lnTo>
                  <a:pt x="1007456" y="532322"/>
                </a:lnTo>
                <a:cubicBezTo>
                  <a:pt x="1009570" y="540224"/>
                  <a:pt x="1012155" y="555118"/>
                  <a:pt x="1005861" y="570566"/>
                </a:cubicBezTo>
                <a:cubicBezTo>
                  <a:pt x="997057" y="592173"/>
                  <a:pt x="974007" y="607187"/>
                  <a:pt x="946070" y="609859"/>
                </a:cubicBezTo>
                <a:cubicBezTo>
                  <a:pt x="935784" y="634877"/>
                  <a:pt x="930506" y="658224"/>
                  <a:pt x="927775" y="677552"/>
                </a:cubicBezTo>
                <a:cubicBezTo>
                  <a:pt x="927670" y="704559"/>
                  <a:pt x="907624" y="726712"/>
                  <a:pt x="883286" y="729459"/>
                </a:cubicBezTo>
                <a:cubicBezTo>
                  <a:pt x="883058" y="729486"/>
                  <a:pt x="882828" y="729504"/>
                  <a:pt x="882601" y="729527"/>
                </a:cubicBezTo>
                <a:cubicBezTo>
                  <a:pt x="882373" y="729504"/>
                  <a:pt x="882143" y="729486"/>
                  <a:pt x="881916" y="729459"/>
                </a:cubicBezTo>
                <a:cubicBezTo>
                  <a:pt x="857578" y="726712"/>
                  <a:pt x="837531" y="704559"/>
                  <a:pt x="837427" y="677552"/>
                </a:cubicBezTo>
                <a:cubicBezTo>
                  <a:pt x="834698" y="658222"/>
                  <a:pt x="829418" y="634877"/>
                  <a:pt x="819132" y="609859"/>
                </a:cubicBezTo>
                <a:cubicBezTo>
                  <a:pt x="791194" y="607187"/>
                  <a:pt x="768144" y="592173"/>
                  <a:pt x="759340" y="570566"/>
                </a:cubicBezTo>
                <a:cubicBezTo>
                  <a:pt x="753046" y="555121"/>
                  <a:pt x="755634" y="540226"/>
                  <a:pt x="757746" y="532322"/>
                </a:cubicBezTo>
                <a:lnTo>
                  <a:pt x="769043" y="492969"/>
                </a:lnTo>
                <a:cubicBezTo>
                  <a:pt x="755838" y="483865"/>
                  <a:pt x="746759" y="469807"/>
                  <a:pt x="745215" y="452921"/>
                </a:cubicBezTo>
                <a:cubicBezTo>
                  <a:pt x="739917" y="394996"/>
                  <a:pt x="736333" y="337255"/>
                  <a:pt x="733086" y="279165"/>
                </a:cubicBezTo>
                <a:cubicBezTo>
                  <a:pt x="731907" y="258060"/>
                  <a:pt x="737757" y="238963"/>
                  <a:pt x="754727" y="225990"/>
                </a:cubicBezTo>
                <a:cubicBezTo>
                  <a:pt x="761562" y="220788"/>
                  <a:pt x="768915" y="217233"/>
                  <a:pt x="777095" y="214303"/>
                </a:cubicBezTo>
                <a:cubicBezTo>
                  <a:pt x="784507" y="211864"/>
                  <a:pt x="792059" y="210118"/>
                  <a:pt x="799762" y="208989"/>
                </a:cubicBezTo>
                <a:close/>
                <a:moveTo>
                  <a:pt x="433291" y="208989"/>
                </a:moveTo>
                <a:cubicBezTo>
                  <a:pt x="443075" y="207557"/>
                  <a:pt x="452857" y="211634"/>
                  <a:pt x="458819" y="219523"/>
                </a:cubicBezTo>
                <a:lnTo>
                  <a:pt x="494484" y="266726"/>
                </a:lnTo>
                <a:cubicBezTo>
                  <a:pt x="499913" y="273911"/>
                  <a:pt x="508019" y="277511"/>
                  <a:pt x="516132" y="277526"/>
                </a:cubicBezTo>
                <a:cubicBezTo>
                  <a:pt x="524244" y="277511"/>
                  <a:pt x="532352" y="273911"/>
                  <a:pt x="537781" y="266726"/>
                </a:cubicBezTo>
                <a:lnTo>
                  <a:pt x="573446" y="219523"/>
                </a:lnTo>
                <a:cubicBezTo>
                  <a:pt x="579408" y="211632"/>
                  <a:pt x="589189" y="207554"/>
                  <a:pt x="598973" y="208989"/>
                </a:cubicBezTo>
                <a:cubicBezTo>
                  <a:pt x="606679" y="210118"/>
                  <a:pt x="614228" y="211862"/>
                  <a:pt x="621641" y="214303"/>
                </a:cubicBezTo>
                <a:cubicBezTo>
                  <a:pt x="629823" y="217233"/>
                  <a:pt x="637174" y="220788"/>
                  <a:pt x="644009" y="225990"/>
                </a:cubicBezTo>
                <a:lnTo>
                  <a:pt x="644004" y="225990"/>
                </a:lnTo>
                <a:cubicBezTo>
                  <a:pt x="660973" y="238963"/>
                  <a:pt x="666823" y="258063"/>
                  <a:pt x="665645" y="279165"/>
                </a:cubicBezTo>
                <a:cubicBezTo>
                  <a:pt x="662398" y="337257"/>
                  <a:pt x="658814" y="394996"/>
                  <a:pt x="653516" y="452921"/>
                </a:cubicBezTo>
                <a:cubicBezTo>
                  <a:pt x="651971" y="469807"/>
                  <a:pt x="642893" y="483865"/>
                  <a:pt x="629687" y="492969"/>
                </a:cubicBezTo>
                <a:lnTo>
                  <a:pt x="640984" y="532322"/>
                </a:lnTo>
                <a:cubicBezTo>
                  <a:pt x="643099" y="540224"/>
                  <a:pt x="645684" y="555118"/>
                  <a:pt x="639390" y="570566"/>
                </a:cubicBezTo>
                <a:cubicBezTo>
                  <a:pt x="630586" y="592173"/>
                  <a:pt x="607536" y="607187"/>
                  <a:pt x="579599" y="609859"/>
                </a:cubicBezTo>
                <a:cubicBezTo>
                  <a:pt x="569313" y="634877"/>
                  <a:pt x="564035" y="658224"/>
                  <a:pt x="561304" y="677552"/>
                </a:cubicBezTo>
                <a:cubicBezTo>
                  <a:pt x="561200" y="704559"/>
                  <a:pt x="541153" y="726712"/>
                  <a:pt x="516815" y="729459"/>
                </a:cubicBezTo>
                <a:cubicBezTo>
                  <a:pt x="516587" y="729486"/>
                  <a:pt x="516357" y="729504"/>
                  <a:pt x="516130" y="729527"/>
                </a:cubicBezTo>
                <a:cubicBezTo>
                  <a:pt x="515902" y="729504"/>
                  <a:pt x="515672" y="729486"/>
                  <a:pt x="515445" y="729459"/>
                </a:cubicBezTo>
                <a:cubicBezTo>
                  <a:pt x="491107" y="726712"/>
                  <a:pt x="471060" y="704559"/>
                  <a:pt x="470956" y="677552"/>
                </a:cubicBezTo>
                <a:cubicBezTo>
                  <a:pt x="468227" y="658222"/>
                  <a:pt x="462947" y="634877"/>
                  <a:pt x="452661" y="609859"/>
                </a:cubicBezTo>
                <a:cubicBezTo>
                  <a:pt x="424723" y="607187"/>
                  <a:pt x="401673" y="592173"/>
                  <a:pt x="392870" y="570566"/>
                </a:cubicBezTo>
                <a:cubicBezTo>
                  <a:pt x="386575" y="555121"/>
                  <a:pt x="389163" y="540226"/>
                  <a:pt x="391275" y="532322"/>
                </a:cubicBezTo>
                <a:lnTo>
                  <a:pt x="402572" y="492969"/>
                </a:lnTo>
                <a:cubicBezTo>
                  <a:pt x="389367" y="483865"/>
                  <a:pt x="380289" y="469807"/>
                  <a:pt x="378744" y="452921"/>
                </a:cubicBezTo>
                <a:cubicBezTo>
                  <a:pt x="373446" y="394996"/>
                  <a:pt x="369862" y="337255"/>
                  <a:pt x="366615" y="279165"/>
                </a:cubicBezTo>
                <a:cubicBezTo>
                  <a:pt x="365436" y="258060"/>
                  <a:pt x="371286" y="238963"/>
                  <a:pt x="388256" y="225990"/>
                </a:cubicBezTo>
                <a:cubicBezTo>
                  <a:pt x="395091" y="220788"/>
                  <a:pt x="402445" y="217233"/>
                  <a:pt x="410624" y="214303"/>
                </a:cubicBezTo>
                <a:cubicBezTo>
                  <a:pt x="418037" y="211864"/>
                  <a:pt x="425588" y="210118"/>
                  <a:pt x="433291" y="208989"/>
                </a:cubicBezTo>
                <a:close/>
                <a:moveTo>
                  <a:pt x="66822" y="208989"/>
                </a:moveTo>
                <a:cubicBezTo>
                  <a:pt x="76606" y="207557"/>
                  <a:pt x="86387" y="211634"/>
                  <a:pt x="92349" y="219523"/>
                </a:cubicBezTo>
                <a:lnTo>
                  <a:pt x="128014" y="266726"/>
                </a:lnTo>
                <a:cubicBezTo>
                  <a:pt x="133443" y="273911"/>
                  <a:pt x="141549" y="277511"/>
                  <a:pt x="149663" y="277526"/>
                </a:cubicBezTo>
                <a:cubicBezTo>
                  <a:pt x="157774" y="277511"/>
                  <a:pt x="165882" y="273911"/>
                  <a:pt x="171311" y="266726"/>
                </a:cubicBezTo>
                <a:lnTo>
                  <a:pt x="206976" y="219523"/>
                </a:lnTo>
                <a:cubicBezTo>
                  <a:pt x="212938" y="211632"/>
                  <a:pt x="222719" y="207554"/>
                  <a:pt x="232503" y="208989"/>
                </a:cubicBezTo>
                <a:cubicBezTo>
                  <a:pt x="240210" y="210118"/>
                  <a:pt x="247758" y="211862"/>
                  <a:pt x="255172" y="214303"/>
                </a:cubicBezTo>
                <a:cubicBezTo>
                  <a:pt x="263353" y="217233"/>
                  <a:pt x="270704" y="220788"/>
                  <a:pt x="277539" y="225990"/>
                </a:cubicBezTo>
                <a:lnTo>
                  <a:pt x="277534" y="225990"/>
                </a:lnTo>
                <a:cubicBezTo>
                  <a:pt x="294503" y="238963"/>
                  <a:pt x="300353" y="258063"/>
                  <a:pt x="299175" y="279165"/>
                </a:cubicBezTo>
                <a:cubicBezTo>
                  <a:pt x="295928" y="337257"/>
                  <a:pt x="292344" y="394996"/>
                  <a:pt x="287046" y="452921"/>
                </a:cubicBezTo>
                <a:cubicBezTo>
                  <a:pt x="285501" y="469807"/>
                  <a:pt x="276423" y="483865"/>
                  <a:pt x="263217" y="492969"/>
                </a:cubicBezTo>
                <a:lnTo>
                  <a:pt x="274515" y="532322"/>
                </a:lnTo>
                <a:cubicBezTo>
                  <a:pt x="276629" y="540224"/>
                  <a:pt x="279215" y="555118"/>
                  <a:pt x="272920" y="570566"/>
                </a:cubicBezTo>
                <a:cubicBezTo>
                  <a:pt x="264116" y="592173"/>
                  <a:pt x="241067" y="607187"/>
                  <a:pt x="213129" y="609859"/>
                </a:cubicBezTo>
                <a:cubicBezTo>
                  <a:pt x="202843" y="634877"/>
                  <a:pt x="197566" y="658224"/>
                  <a:pt x="194834" y="677552"/>
                </a:cubicBezTo>
                <a:cubicBezTo>
                  <a:pt x="194730" y="704559"/>
                  <a:pt x="174683" y="726712"/>
                  <a:pt x="150345" y="729459"/>
                </a:cubicBezTo>
                <a:cubicBezTo>
                  <a:pt x="150118" y="729486"/>
                  <a:pt x="149887" y="729504"/>
                  <a:pt x="149660" y="729527"/>
                </a:cubicBezTo>
                <a:cubicBezTo>
                  <a:pt x="149433" y="729504"/>
                  <a:pt x="149203" y="729486"/>
                  <a:pt x="148975" y="729459"/>
                </a:cubicBezTo>
                <a:cubicBezTo>
                  <a:pt x="124637" y="726712"/>
                  <a:pt x="104591" y="704559"/>
                  <a:pt x="104486" y="677552"/>
                </a:cubicBezTo>
                <a:cubicBezTo>
                  <a:pt x="101757" y="658222"/>
                  <a:pt x="96477" y="634877"/>
                  <a:pt x="86191" y="609859"/>
                </a:cubicBezTo>
                <a:cubicBezTo>
                  <a:pt x="58253" y="607187"/>
                  <a:pt x="35204" y="592173"/>
                  <a:pt x="26400" y="570566"/>
                </a:cubicBezTo>
                <a:cubicBezTo>
                  <a:pt x="20106" y="555121"/>
                  <a:pt x="22693" y="540226"/>
                  <a:pt x="24805" y="532322"/>
                </a:cubicBezTo>
                <a:lnTo>
                  <a:pt x="36103" y="492969"/>
                </a:lnTo>
                <a:cubicBezTo>
                  <a:pt x="22897" y="483865"/>
                  <a:pt x="13819" y="469807"/>
                  <a:pt x="12274" y="452921"/>
                </a:cubicBezTo>
                <a:cubicBezTo>
                  <a:pt x="6976" y="394996"/>
                  <a:pt x="3392" y="337255"/>
                  <a:pt x="145" y="279165"/>
                </a:cubicBezTo>
                <a:cubicBezTo>
                  <a:pt x="-1033" y="258060"/>
                  <a:pt x="4817" y="238963"/>
                  <a:pt x="21786" y="225990"/>
                </a:cubicBezTo>
                <a:cubicBezTo>
                  <a:pt x="28622" y="220788"/>
                  <a:pt x="35975" y="217233"/>
                  <a:pt x="44154" y="214303"/>
                </a:cubicBezTo>
                <a:cubicBezTo>
                  <a:pt x="51567" y="211864"/>
                  <a:pt x="59118" y="210118"/>
                  <a:pt x="66822" y="208989"/>
                </a:cubicBezTo>
                <a:close/>
                <a:moveTo>
                  <a:pt x="1621453" y="0"/>
                </a:moveTo>
                <a:cubicBezTo>
                  <a:pt x="1670729" y="0"/>
                  <a:pt x="1710675" y="39980"/>
                  <a:pt x="1710675" y="89297"/>
                </a:cubicBezTo>
                <a:cubicBezTo>
                  <a:pt x="1710675" y="138615"/>
                  <a:pt x="1670729" y="178594"/>
                  <a:pt x="1621453" y="178594"/>
                </a:cubicBezTo>
                <a:cubicBezTo>
                  <a:pt x="1572178" y="178594"/>
                  <a:pt x="1532232" y="138615"/>
                  <a:pt x="1532232" y="89297"/>
                </a:cubicBezTo>
                <a:cubicBezTo>
                  <a:pt x="1532232" y="39980"/>
                  <a:pt x="1572178" y="0"/>
                  <a:pt x="1621453" y="0"/>
                </a:cubicBezTo>
                <a:close/>
                <a:moveTo>
                  <a:pt x="1254984" y="0"/>
                </a:moveTo>
                <a:cubicBezTo>
                  <a:pt x="1304259" y="0"/>
                  <a:pt x="1344205" y="39980"/>
                  <a:pt x="1344205" y="89297"/>
                </a:cubicBezTo>
                <a:cubicBezTo>
                  <a:pt x="1344205" y="138615"/>
                  <a:pt x="1304259" y="178594"/>
                  <a:pt x="1254984" y="178594"/>
                </a:cubicBezTo>
                <a:cubicBezTo>
                  <a:pt x="1205708" y="178594"/>
                  <a:pt x="1165762" y="138615"/>
                  <a:pt x="1165762" y="89297"/>
                </a:cubicBezTo>
                <a:cubicBezTo>
                  <a:pt x="1165762" y="39980"/>
                  <a:pt x="1205708" y="0"/>
                  <a:pt x="1254984" y="0"/>
                </a:cubicBezTo>
                <a:close/>
                <a:moveTo>
                  <a:pt x="888514" y="0"/>
                </a:moveTo>
                <a:cubicBezTo>
                  <a:pt x="937789" y="0"/>
                  <a:pt x="977735" y="39980"/>
                  <a:pt x="977735" y="89297"/>
                </a:cubicBezTo>
                <a:cubicBezTo>
                  <a:pt x="977735" y="138615"/>
                  <a:pt x="937789" y="178594"/>
                  <a:pt x="888514" y="178594"/>
                </a:cubicBezTo>
                <a:cubicBezTo>
                  <a:pt x="839238" y="178594"/>
                  <a:pt x="799292" y="138615"/>
                  <a:pt x="799292" y="89297"/>
                </a:cubicBezTo>
                <a:cubicBezTo>
                  <a:pt x="799292" y="39980"/>
                  <a:pt x="839238" y="0"/>
                  <a:pt x="888514" y="0"/>
                </a:cubicBezTo>
                <a:close/>
                <a:moveTo>
                  <a:pt x="522043" y="0"/>
                </a:moveTo>
                <a:cubicBezTo>
                  <a:pt x="571318" y="0"/>
                  <a:pt x="611264" y="39980"/>
                  <a:pt x="611264" y="89297"/>
                </a:cubicBezTo>
                <a:cubicBezTo>
                  <a:pt x="611264" y="138615"/>
                  <a:pt x="571318" y="178594"/>
                  <a:pt x="522043" y="178594"/>
                </a:cubicBezTo>
                <a:cubicBezTo>
                  <a:pt x="472767" y="178594"/>
                  <a:pt x="432821" y="138615"/>
                  <a:pt x="432821" y="89297"/>
                </a:cubicBezTo>
                <a:cubicBezTo>
                  <a:pt x="432821" y="39980"/>
                  <a:pt x="472767" y="0"/>
                  <a:pt x="522043" y="0"/>
                </a:cubicBezTo>
                <a:close/>
                <a:moveTo>
                  <a:pt x="155573" y="0"/>
                </a:moveTo>
                <a:cubicBezTo>
                  <a:pt x="204848" y="0"/>
                  <a:pt x="244794" y="39980"/>
                  <a:pt x="244794" y="89297"/>
                </a:cubicBezTo>
                <a:cubicBezTo>
                  <a:pt x="244794" y="138615"/>
                  <a:pt x="204848" y="178594"/>
                  <a:pt x="155573" y="178594"/>
                </a:cubicBezTo>
                <a:cubicBezTo>
                  <a:pt x="106297" y="178594"/>
                  <a:pt x="66351" y="138615"/>
                  <a:pt x="66351" y="89297"/>
                </a:cubicBezTo>
                <a:cubicBezTo>
                  <a:pt x="66351" y="39980"/>
                  <a:pt x="106297" y="0"/>
                  <a:pt x="155573" y="0"/>
                </a:cubicBezTo>
                <a:close/>
              </a:path>
            </a:pathLst>
          </a:custGeom>
          <a:gradFill>
            <a:gsLst>
              <a:gs pos="4000">
                <a:schemeClr val="accent3"/>
              </a:gs>
              <a:gs pos="83000">
                <a:schemeClr val="accent3">
                  <a:lumMod val="75000"/>
                </a:schemeClr>
              </a:gs>
            </a:gsLst>
            <a:lin ang="0" scaled="1"/>
          </a:gradFill>
          <a:ln w="52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fr-FR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49D253-55D8-0D97-1709-74A33222A669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F212C9-483D-72C6-1FCD-1E4BF8F8F41A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431406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BE7AF9-1DED-7CB5-018D-6534EFC5F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7C6C8F30-83FA-D871-F51D-79F91B9C5AC5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124DA490-7827-113E-6752-CC8C7C532326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5DDE9546-A1FF-3FC6-B4F5-2AE131476841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809E9949-49CE-241C-1FAB-97E09275B43D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3173E2C1-85F7-6E63-167F-1C0E56AE57A0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396CBBC-49A1-C0BE-3C24-62512B9B48FE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6E93BB0-FD53-F6A4-6777-34CFDF80AE7C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374A329-AEFB-6F5C-7E57-9794A0436FBB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186FA4C-78A5-19AD-4280-CD28DE8B8C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4616" y="890430"/>
            <a:ext cx="3841560" cy="384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7171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23C53AB-1A74-83B7-3F19-7A2C649C0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>
            <a:extLst>
              <a:ext uri="{FF2B5EF4-FFF2-40B4-BE49-F238E27FC236}">
                <a16:creationId xmlns:a16="http://schemas.microsoft.com/office/drawing/2014/main" id="{909425A9-FB72-14D7-071A-0A7D168691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01" t="16688"/>
          <a:stretch>
            <a:fillRect/>
          </a:stretch>
        </p:blipFill>
        <p:spPr>
          <a:xfrm flipV="1">
            <a:off x="4519275" y="1094701"/>
            <a:ext cx="1916456" cy="2687974"/>
          </a:xfrm>
          <a:custGeom>
            <a:avLst/>
            <a:gdLst>
              <a:gd name="csX0" fmla="*/ 1343988 w 1916456"/>
              <a:gd name="csY0" fmla="*/ 2687974 h 2687974"/>
              <a:gd name="csX1" fmla="*/ 1867129 w 1916456"/>
              <a:gd name="csY1" fmla="*/ 2582357 h 2687974"/>
              <a:gd name="csX2" fmla="*/ 1916456 w 1916456"/>
              <a:gd name="csY2" fmla="*/ 2558595 h 2687974"/>
              <a:gd name="csX3" fmla="*/ 1916456 w 1916456"/>
              <a:gd name="csY3" fmla="*/ 129380 h 2687974"/>
              <a:gd name="csX4" fmla="*/ 1867129 w 1916456"/>
              <a:gd name="csY4" fmla="*/ 105617 h 2687974"/>
              <a:gd name="csX5" fmla="*/ 1343988 w 1916456"/>
              <a:gd name="csY5" fmla="*/ 0 h 2687974"/>
              <a:gd name="csX6" fmla="*/ 0 w 1916456"/>
              <a:gd name="csY6" fmla="*/ 1343987 h 2687974"/>
              <a:gd name="csX7" fmla="*/ 1343988 w 1916456"/>
              <a:gd name="csY7" fmla="*/ 2687974 h 268797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1916456" h="2687974">
                <a:moveTo>
                  <a:pt x="1343988" y="2687974"/>
                </a:moveTo>
                <a:cubicBezTo>
                  <a:pt x="1529554" y="2687974"/>
                  <a:pt x="1706337" y="2650366"/>
                  <a:pt x="1867129" y="2582357"/>
                </a:cubicBezTo>
                <a:lnTo>
                  <a:pt x="1916456" y="2558595"/>
                </a:lnTo>
                <a:lnTo>
                  <a:pt x="1916456" y="129380"/>
                </a:lnTo>
                <a:lnTo>
                  <a:pt x="1867129" y="105617"/>
                </a:lnTo>
                <a:cubicBezTo>
                  <a:pt x="1706337" y="37608"/>
                  <a:pt x="1529554" y="0"/>
                  <a:pt x="1343988" y="0"/>
                </a:cubicBezTo>
                <a:cubicBezTo>
                  <a:pt x="601724" y="0"/>
                  <a:pt x="0" y="601723"/>
                  <a:pt x="0" y="1343987"/>
                </a:cubicBezTo>
                <a:cubicBezTo>
                  <a:pt x="0" y="2086251"/>
                  <a:pt x="601724" y="2687974"/>
                  <a:pt x="1343988" y="2687974"/>
                </a:cubicBezTo>
                <a:close/>
              </a:path>
            </a:pathLst>
          </a:cu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B354527-DB83-637E-F314-370369C11BF8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EC316-F98E-C42B-6CC2-266A22CD41C9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251F66D-7340-8503-8152-0503BA48E43D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B7001F6-5125-556E-A03F-0CA0662284D7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5E4DA710-13EF-099E-3C30-3F62C24FBB40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7B963419-2922-FE9D-724E-484091DA40BA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79FBFE1-7278-1FBA-3873-65670ECA8840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2">
              <a:extLst>
                <a:ext uri="{FF2B5EF4-FFF2-40B4-BE49-F238E27FC236}">
                  <a16:creationId xmlns:a16="http://schemas.microsoft.com/office/drawing/2014/main" id="{583F51FD-2FB6-2D15-5226-F5EC7D3503A9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BA6A09A2-2E7D-4417-7A9E-13B4C20C693C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0CBF43B8-2836-B4C2-9E51-EFDD9492A7DF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130ABAA6-BEA0-5868-0052-2AB8F0091E31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6F17E911-B149-96A9-5184-6653CB8A1DD5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6" name="Graphic 2">
              <a:extLst>
                <a:ext uri="{FF2B5EF4-FFF2-40B4-BE49-F238E27FC236}">
                  <a16:creationId xmlns:a16="http://schemas.microsoft.com/office/drawing/2014/main" id="{6247B790-6CBB-D179-03DC-8B93CF0C4C3F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EB0E9427-814C-43CA-95D3-04B933ABEC13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5E52DF85-534D-1FFE-A7F9-122DE62B092C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22142724-7064-A1E4-D947-061F5CADB7BC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33B6F4BE-9730-BCC3-5A3C-26AD0C8E417C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E8BFD5BA-E36F-738E-EACD-CAFCE45EE4D2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F12584F-A99F-3E09-DEE6-F7305276F277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E64FB996-1723-B2D6-A6A5-0852125C026F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50BC50B-D31C-A139-C2AA-85BD29F41C18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4ECBAF5-9FFF-132D-85E0-7D780CAD7B8B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2" name="Graphic 2">
              <a:extLst>
                <a:ext uri="{FF2B5EF4-FFF2-40B4-BE49-F238E27FC236}">
                  <a16:creationId xmlns:a16="http://schemas.microsoft.com/office/drawing/2014/main" id="{BA215B4B-2A54-A36B-C7E4-A6430C6D1E77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5E71265F-802A-E3D4-E893-C1A8A3F3CEB6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A56CDA16-7F46-E5F1-4C52-958207DDB5C1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BA544B8-2E54-AC1F-2DB3-0AABFC853E05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6DAE981-1D34-E071-A573-96C5D1FB8184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5" name="Graphic 2">
              <a:extLst>
                <a:ext uri="{FF2B5EF4-FFF2-40B4-BE49-F238E27FC236}">
                  <a16:creationId xmlns:a16="http://schemas.microsoft.com/office/drawing/2014/main" id="{295F97C6-4002-8AA9-7DE5-F3F1B3AA44F0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478C9F1-F68F-3258-F82F-AF5A3AB62DA5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6A59214D-0AAF-AFDF-8921-CB7057594B4E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7978BE6E-90BB-D16F-102E-996F258D2951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231E507-1897-4C47-8842-856638140BE9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447D6C47-AB5D-0632-CCBE-4A4679152569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61F21FED-F542-6302-0C0F-F9A1D3DAB272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89B3F4D5-AE49-EB79-181E-B2F6C3058BBA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B516C24A-FB47-5F4C-02E1-1979381F3B94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84547D1E-38BC-70F8-2DFE-148ABBD1081C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05B7294B-2CA0-63CA-8850-F1444302AAAB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6E378DA5-DA4C-E3A2-9AC9-6E916BC748C9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E72D2F27-51CD-C9B5-8E11-46ECC6F343F6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456CC2E0-4698-16DC-D165-2A4CDBF29AFF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6" name="Graphic 2">
                <a:extLst>
                  <a:ext uri="{FF2B5EF4-FFF2-40B4-BE49-F238E27FC236}">
                    <a16:creationId xmlns:a16="http://schemas.microsoft.com/office/drawing/2014/main" id="{FDC3F80B-3D3C-5430-0EF2-B59672C8F8B6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FE653114-847A-D96D-FE58-F5DF24CC435E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3FCA4BB4-7616-2687-9A70-1760EB83DA27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C9BD475B-77E9-F9C0-54F5-40A3D0765861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8" name="Graphic 2">
                <a:extLst>
                  <a:ext uri="{FF2B5EF4-FFF2-40B4-BE49-F238E27FC236}">
                    <a16:creationId xmlns:a16="http://schemas.microsoft.com/office/drawing/2014/main" id="{F63C7704-557A-EC1E-670D-FC5ED423281E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F33C0C5-00E9-F124-5FA0-D4C2C121D49D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4" name="Graphic 2">
                  <a:extLst>
                    <a:ext uri="{FF2B5EF4-FFF2-40B4-BE49-F238E27FC236}">
                      <a16:creationId xmlns:a16="http://schemas.microsoft.com/office/drawing/2014/main" id="{EF8F0C11-78F7-402F-C9B7-83CAAF4866D9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6A9D930F-E7BD-C1BD-DAF0-9C4B746B79A6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39AFC653-B2F7-3AE0-6454-A74E7784BF43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A6D5EE22-944E-18FD-FFCA-AB263E56E118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A312A73A-26B4-CF79-256A-319A8914F1F1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7" name="Graphic 2">
                  <a:extLst>
                    <a:ext uri="{FF2B5EF4-FFF2-40B4-BE49-F238E27FC236}">
                      <a16:creationId xmlns:a16="http://schemas.microsoft.com/office/drawing/2014/main" id="{2BE962D0-AB21-0406-30CD-00DB7F61230F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8D527295-6F8A-77BF-BC43-2250D8D9BCC5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DAE918BD-26D8-C46D-F27F-043D823B2F77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93DEDEC4-2DFE-1E40-A885-E1E9B7F0FD52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6A45BFC-C898-EFA5-C40D-028059BE8BB1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F40497F-D4BF-80AD-ACC4-927E58C3C583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342F0D5A-6B0B-4714-F23F-FAEADFE0FE8D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9DF88863-9DC9-4BB2-C5C1-6B3540B2AC08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020AAECB-4A9E-CE15-F009-D75CFD987EC9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30" name="Graphic 2">
                <a:extLst>
                  <a:ext uri="{FF2B5EF4-FFF2-40B4-BE49-F238E27FC236}">
                    <a16:creationId xmlns:a16="http://schemas.microsoft.com/office/drawing/2014/main" id="{4A58B338-0BB6-6F0B-0A10-0CCCBFAAE90C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5DA9DAB4-FED4-CAA7-3C99-37F463B10527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16222909-B5A3-8F6A-FFD3-921537B2B7A7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EC350726-CB25-58DD-33E5-9EC64BE8C2E3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4129689-14E8-FC41-D3FD-E4E6296BF4F2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74B7968A-5198-5245-9D5B-36A439395896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843AB32B-0D40-2B33-B83C-282DB9A1954A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E3339F05-DC8D-5B4F-1BE8-05D2972AB994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8030A46F-BF93-9B8A-6552-2AD13BD150EC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18A413EA-B90B-AA09-D797-248AF43C00E0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845C1304-1639-59CB-DB28-E27B0348A949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B8EA723E-8286-AEC5-2A16-3BBAF80B403A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869F61FF-39AD-8FC6-5CDD-0D5F89191DD5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4243F61-A63A-17BE-BE5A-3C88CCFB650F}"/>
              </a:ext>
            </a:extLst>
          </p:cNvPr>
          <p:cNvSpPr txBox="1">
            <a:spLocks/>
          </p:cNvSpPr>
          <p:nvPr/>
        </p:nvSpPr>
        <p:spPr>
          <a:xfrm>
            <a:off x="539551" y="1096904"/>
            <a:ext cx="2592289" cy="22159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24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Répartition </a:t>
            </a:r>
            <a:br>
              <a:rPr lang="fr-FR" sz="24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</a:br>
            <a:r>
              <a:rPr lang="fr-FR" sz="24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des alternants</a:t>
            </a:r>
          </a:p>
          <a:p>
            <a:pPr lvl="0">
              <a:defRPr/>
            </a:pPr>
            <a:r>
              <a:rPr lang="fr-FR" sz="3200" noProof="1">
                <a:solidFill>
                  <a:schemeClr val="bg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par niveau de certification visé en 2025</a:t>
            </a:r>
          </a:p>
        </p:txBody>
      </p:sp>
      <p:graphicFrame>
        <p:nvGraphicFramePr>
          <p:cNvPr id="5" name="Graphique 1">
            <a:extLst>
              <a:ext uri="{FF2B5EF4-FFF2-40B4-BE49-F238E27FC236}">
                <a16:creationId xmlns:a16="http://schemas.microsoft.com/office/drawing/2014/main" id="{85472767-0EA4-DBF6-03EF-BBBFF9771216}"/>
              </a:ext>
            </a:extLst>
          </p:cNvPr>
          <p:cNvGraphicFramePr>
            <a:graphicFrameLocks/>
          </p:cNvGraphicFramePr>
          <p:nvPr/>
        </p:nvGraphicFramePr>
        <p:xfrm>
          <a:off x="3251710" y="952394"/>
          <a:ext cx="5223105" cy="2972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Graphique 1">
            <a:extLst>
              <a:ext uri="{FF2B5EF4-FFF2-40B4-BE49-F238E27FC236}">
                <a16:creationId xmlns:a16="http://schemas.microsoft.com/office/drawing/2014/main" id="{5CABF002-7828-17FB-6C00-0A20DE85E616}"/>
              </a:ext>
            </a:extLst>
          </p:cNvPr>
          <p:cNvGraphicFramePr>
            <a:graphicFrameLocks/>
          </p:cNvGraphicFramePr>
          <p:nvPr/>
        </p:nvGraphicFramePr>
        <p:xfrm>
          <a:off x="3028644" y="825442"/>
          <a:ext cx="5669238" cy="3226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Graphique 1">
            <a:extLst>
              <a:ext uri="{FF2B5EF4-FFF2-40B4-BE49-F238E27FC236}">
                <a16:creationId xmlns:a16="http://schemas.microsoft.com/office/drawing/2014/main" id="{14829D81-CC66-3773-CAF0-27B0ABB62B1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525151" y="538893"/>
          <a:ext cx="6676224" cy="3799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0B478B44-13C0-26A0-B9F7-2D176FE4313D}"/>
              </a:ext>
            </a:extLst>
          </p:cNvPr>
          <p:cNvSpPr>
            <a:spLocks/>
          </p:cNvSpPr>
          <p:nvPr/>
        </p:nvSpPr>
        <p:spPr>
          <a:xfrm>
            <a:off x="4519275" y="1094701"/>
            <a:ext cx="2687976" cy="2687974"/>
          </a:xfrm>
          <a:prstGeom prst="ellipse">
            <a:avLst/>
          </a:prstGeom>
          <a:noFill/>
          <a:ln w="9525">
            <a:solidFill>
              <a:schemeClr val="bg1"/>
            </a:solidFill>
          </a:ln>
          <a:effectLst>
            <a:outerShdw blurRad="63500" sx="102000" sy="102000" algn="ctr" rotWithShape="0">
              <a:schemeClr val="bg1">
                <a:alpha val="3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751BF1-7201-80C0-B5E2-A175E73069E9}"/>
              </a:ext>
            </a:extLst>
          </p:cNvPr>
          <p:cNvSpPr txBox="1">
            <a:spLocks/>
          </p:cNvSpPr>
          <p:nvPr/>
        </p:nvSpPr>
        <p:spPr>
          <a:xfrm>
            <a:off x="3363607" y="1088725"/>
            <a:ext cx="779066" cy="677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54</a:t>
            </a:r>
            <a:r>
              <a:rPr kumimoji="0" lang="fr-FR" sz="2800" b="0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4400" b="0" i="0" u="none" strike="noStrike" kern="1200" cap="none" spc="0" normalizeH="0" noProof="0" dirty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783C64-B186-07D4-99A3-2F2A156BD7C4}"/>
              </a:ext>
            </a:extLst>
          </p:cNvPr>
          <p:cNvSpPr txBox="1">
            <a:spLocks/>
          </p:cNvSpPr>
          <p:nvPr/>
        </p:nvSpPr>
        <p:spPr>
          <a:xfrm>
            <a:off x="3363607" y="965614"/>
            <a:ext cx="127347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Bac +5 et plus</a:t>
            </a:r>
            <a:endParaRPr kumimoji="0" lang="fr-FR" sz="1400" b="0" u="none" strike="noStrike" kern="1200" cap="none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054CA25-B0C8-0BC6-1024-108D8B74E732}"/>
              </a:ext>
            </a:extLst>
          </p:cNvPr>
          <p:cNvGrpSpPr/>
          <p:nvPr/>
        </p:nvGrpSpPr>
        <p:grpSpPr>
          <a:xfrm>
            <a:off x="3433240" y="1873313"/>
            <a:ext cx="1167408" cy="200675"/>
            <a:chOff x="3433240" y="1873313"/>
            <a:chExt cx="1167408" cy="20067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0DAC0FD-8600-F3D4-C9AD-0E56B49F540A}"/>
                </a:ext>
              </a:extLst>
            </p:cNvPr>
            <p:cNvSpPr/>
            <p:nvPr/>
          </p:nvSpPr>
          <p:spPr>
            <a:xfrm flipH="1">
              <a:off x="4554929" y="2028269"/>
              <a:ext cx="45719" cy="457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8D61FF5-5C6B-9E23-7230-B0C2635A61AA}"/>
                </a:ext>
              </a:extLst>
            </p:cNvPr>
            <p:cNvCxnSpPr>
              <a:cxnSpLocks/>
              <a:stCxn id="18" idx="7"/>
            </p:cNvCxnSpPr>
            <p:nvPr/>
          </p:nvCxnSpPr>
          <p:spPr>
            <a:xfrm flipH="1" flipV="1">
              <a:off x="4438202" y="1873313"/>
              <a:ext cx="123422" cy="161651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C37574F-DE23-C07A-6B94-87478FEF69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33240" y="1873313"/>
              <a:ext cx="1004962" cy="0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5C4FBD34-960F-E3E0-BC52-3AAC3C4C839D}"/>
              </a:ext>
            </a:extLst>
          </p:cNvPr>
          <p:cNvSpPr txBox="1">
            <a:spLocks/>
          </p:cNvSpPr>
          <p:nvPr/>
        </p:nvSpPr>
        <p:spPr>
          <a:xfrm>
            <a:off x="5455088" y="491167"/>
            <a:ext cx="779066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2</a:t>
            </a:r>
            <a:r>
              <a:rPr kumimoji="0" lang="fr-FR" sz="1600" b="0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2800" b="0" i="0" u="none" strike="noStrike" kern="1200" cap="none" spc="0" normalizeH="0" noProof="0" dirty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FDE4A89-22E6-F3EA-B1FC-B50155AC2D91}"/>
              </a:ext>
            </a:extLst>
          </p:cNvPr>
          <p:cNvSpPr txBox="1">
            <a:spLocks/>
          </p:cNvSpPr>
          <p:nvPr/>
        </p:nvSpPr>
        <p:spPr>
          <a:xfrm>
            <a:off x="4960676" y="372108"/>
            <a:ext cx="1273478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CQP &amp; CCN</a:t>
            </a:r>
            <a:endParaRPr kumimoji="0" lang="fr-FR" sz="1200" b="0" u="none" strike="noStrike" kern="1200" cap="none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39C942E-CB8A-42F2-00B3-58D1A5360310}"/>
              </a:ext>
            </a:extLst>
          </p:cNvPr>
          <p:cNvSpPr txBox="1">
            <a:spLocks/>
          </p:cNvSpPr>
          <p:nvPr/>
        </p:nvSpPr>
        <p:spPr>
          <a:xfrm>
            <a:off x="6830495" y="585210"/>
            <a:ext cx="779066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</a:t>
            </a:r>
            <a:r>
              <a:rPr kumimoji="0" lang="fr-FR" sz="1600" b="0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2800" b="0" i="0" u="none" strike="noStrike" kern="1200" cap="none" spc="0" normalizeH="0" noProof="0" dirty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1E06576-3571-68B8-4EBC-A1888FDB233E}"/>
              </a:ext>
            </a:extLst>
          </p:cNvPr>
          <p:cNvSpPr txBox="1">
            <a:spLocks/>
          </p:cNvSpPr>
          <p:nvPr/>
        </p:nvSpPr>
        <p:spPr>
          <a:xfrm>
            <a:off x="6830495" y="466151"/>
            <a:ext cx="1273478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Infrabac</a:t>
            </a:r>
            <a:r>
              <a:rPr kumimoji="0" lang="fr-FR" sz="1200" b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/Bac</a:t>
            </a:r>
            <a:endParaRPr kumimoji="0" lang="fr-FR" sz="1200" b="0" u="none" strike="noStrike" kern="1200" cap="none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8957DCE-66BE-623E-B41D-8F07027478D5}"/>
              </a:ext>
            </a:extLst>
          </p:cNvPr>
          <p:cNvSpPr txBox="1">
            <a:spLocks/>
          </p:cNvSpPr>
          <p:nvPr/>
        </p:nvSpPr>
        <p:spPr>
          <a:xfrm>
            <a:off x="7766397" y="1405353"/>
            <a:ext cx="779066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14</a:t>
            </a:r>
            <a:r>
              <a:rPr kumimoji="0" lang="fr-FR" sz="2000" b="0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3600" b="0" i="0" u="none" strike="noStrike" kern="1200" cap="none" spc="0" normalizeH="0" noProof="0" dirty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E746C8C-21DC-C9D0-BF66-5086B8B9F3BF}"/>
              </a:ext>
            </a:extLst>
          </p:cNvPr>
          <p:cNvSpPr txBox="1">
            <a:spLocks/>
          </p:cNvSpPr>
          <p:nvPr/>
        </p:nvSpPr>
        <p:spPr>
          <a:xfrm>
            <a:off x="7271985" y="1313020"/>
            <a:ext cx="1273478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Bac +2</a:t>
            </a:r>
            <a:endParaRPr kumimoji="0" lang="fr-FR" sz="1200" b="0" u="none" strike="noStrike" kern="1200" cap="none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2331BAC-456F-D5BB-C84A-5BEE3B2C95A7}"/>
              </a:ext>
            </a:extLst>
          </p:cNvPr>
          <p:cNvSpPr/>
          <p:nvPr/>
        </p:nvSpPr>
        <p:spPr>
          <a:xfrm flipH="1">
            <a:off x="6486325" y="1223083"/>
            <a:ext cx="45719" cy="4571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8D50393-459F-9054-FC14-D9368DF0129C}"/>
              </a:ext>
            </a:extLst>
          </p:cNvPr>
          <p:cNvCxnSpPr>
            <a:cxnSpLocks/>
            <a:stCxn id="48" idx="0"/>
          </p:cNvCxnSpPr>
          <p:nvPr/>
        </p:nvCxnSpPr>
        <p:spPr>
          <a:xfrm flipH="1" flipV="1">
            <a:off x="6380503" y="967773"/>
            <a:ext cx="128681" cy="255310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854D158-C671-0368-8DFE-403A3AAFD73F}"/>
              </a:ext>
            </a:extLst>
          </p:cNvPr>
          <p:cNvCxnSpPr>
            <a:cxnSpLocks/>
          </p:cNvCxnSpPr>
          <p:nvPr/>
        </p:nvCxnSpPr>
        <p:spPr>
          <a:xfrm flipH="1">
            <a:off x="5724128" y="972000"/>
            <a:ext cx="658343" cy="0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C4FCCE7-055F-6FD6-DA3E-78C84B23AA5A}"/>
              </a:ext>
            </a:extLst>
          </p:cNvPr>
          <p:cNvGrpSpPr/>
          <p:nvPr/>
        </p:nvGrpSpPr>
        <p:grpSpPr>
          <a:xfrm flipH="1">
            <a:off x="6637595" y="1072568"/>
            <a:ext cx="807916" cy="301029"/>
            <a:chOff x="6375111" y="719166"/>
            <a:chExt cx="807916" cy="301029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AE7A5AAB-87D6-AB52-28F4-CC148D5C6382}"/>
                </a:ext>
              </a:extLst>
            </p:cNvPr>
            <p:cNvSpPr/>
            <p:nvPr/>
          </p:nvSpPr>
          <p:spPr>
            <a:xfrm flipH="1">
              <a:off x="7137308" y="974476"/>
              <a:ext cx="45719" cy="45719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048C5C51-CE25-3A06-B6B7-4B79BE72F252}"/>
                </a:ext>
              </a:extLst>
            </p:cNvPr>
            <p:cNvCxnSpPr>
              <a:cxnSpLocks/>
              <a:stCxn id="56" idx="0"/>
            </p:cNvCxnSpPr>
            <p:nvPr/>
          </p:nvCxnSpPr>
          <p:spPr>
            <a:xfrm flipH="1" flipV="1">
              <a:off x="7031486" y="719166"/>
              <a:ext cx="128681" cy="255310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37EDE0B-678A-8B1E-7C8D-F78178DC28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5111" y="723393"/>
              <a:ext cx="658343" cy="0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03CFE7F-B884-14D1-B3EA-232DA0CC4765}"/>
              </a:ext>
            </a:extLst>
          </p:cNvPr>
          <p:cNvGrpSpPr/>
          <p:nvPr/>
        </p:nvGrpSpPr>
        <p:grpSpPr>
          <a:xfrm flipH="1">
            <a:off x="7288324" y="2004157"/>
            <a:ext cx="1257139" cy="200675"/>
            <a:chOff x="3343509" y="1873313"/>
            <a:chExt cx="1257139" cy="200675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9A762D60-9285-8478-3ACB-C06B5D088D7B}"/>
                </a:ext>
              </a:extLst>
            </p:cNvPr>
            <p:cNvSpPr/>
            <p:nvPr/>
          </p:nvSpPr>
          <p:spPr>
            <a:xfrm flipH="1">
              <a:off x="4554929" y="2028269"/>
              <a:ext cx="45719" cy="457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48D79D9-EBF7-8D89-2B95-73DD3EF8AC00}"/>
                </a:ext>
              </a:extLst>
            </p:cNvPr>
            <p:cNvCxnSpPr>
              <a:cxnSpLocks/>
              <a:stCxn id="66" idx="7"/>
            </p:cNvCxnSpPr>
            <p:nvPr/>
          </p:nvCxnSpPr>
          <p:spPr>
            <a:xfrm flipH="1" flipV="1">
              <a:off x="4438202" y="1873313"/>
              <a:ext cx="123422" cy="161651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F9A44D4-09EC-0894-F494-D8D8470DA8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43509" y="1873313"/>
              <a:ext cx="1094693" cy="0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9AB287C-B4FA-4E49-5DC9-F5978461EF45}"/>
              </a:ext>
            </a:extLst>
          </p:cNvPr>
          <p:cNvGrpSpPr/>
          <p:nvPr/>
        </p:nvGrpSpPr>
        <p:grpSpPr>
          <a:xfrm flipH="1" flipV="1">
            <a:off x="6980991" y="3772050"/>
            <a:ext cx="1530813" cy="200675"/>
            <a:chOff x="3069835" y="1873313"/>
            <a:chExt cx="1530813" cy="200675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6D2F53E-0C53-3E1F-3F60-D55B14961D70}"/>
                </a:ext>
              </a:extLst>
            </p:cNvPr>
            <p:cNvSpPr/>
            <p:nvPr/>
          </p:nvSpPr>
          <p:spPr>
            <a:xfrm flipH="1">
              <a:off x="4554929" y="2028269"/>
              <a:ext cx="45719" cy="45719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2787D4E-8F7E-C8E7-699B-06001B225DF3}"/>
                </a:ext>
              </a:extLst>
            </p:cNvPr>
            <p:cNvCxnSpPr>
              <a:cxnSpLocks/>
              <a:stCxn id="74" idx="7"/>
            </p:cNvCxnSpPr>
            <p:nvPr/>
          </p:nvCxnSpPr>
          <p:spPr>
            <a:xfrm flipH="1" flipV="1">
              <a:off x="4438202" y="1873313"/>
              <a:ext cx="123422" cy="161651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995EDDD5-D881-7D3B-BBDA-986FEB62EB7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69835" y="1873313"/>
              <a:ext cx="1368367" cy="0"/>
            </a:xfrm>
            <a:prstGeom prst="line">
              <a:avLst/>
            </a:prstGeom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4C38837C-2D33-F738-0ED9-CA8B1AB0ED68}"/>
              </a:ext>
            </a:extLst>
          </p:cNvPr>
          <p:cNvSpPr txBox="1">
            <a:spLocks/>
          </p:cNvSpPr>
          <p:nvPr/>
        </p:nvSpPr>
        <p:spPr>
          <a:xfrm>
            <a:off x="7766397" y="3314338"/>
            <a:ext cx="779066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31</a:t>
            </a:r>
            <a:r>
              <a:rPr kumimoji="0" lang="fr-FR" sz="2000" b="0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3600" b="0" i="0" u="none" strike="noStrike" kern="1200" cap="none" spc="0" normalizeH="0" noProof="0" dirty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BF650F7-436F-45AF-D1AF-86E969963CDC}"/>
              </a:ext>
            </a:extLst>
          </p:cNvPr>
          <p:cNvSpPr txBox="1">
            <a:spLocks/>
          </p:cNvSpPr>
          <p:nvPr/>
        </p:nvSpPr>
        <p:spPr>
          <a:xfrm>
            <a:off x="7271985" y="3222005"/>
            <a:ext cx="1273478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Circular Std Bold" panose="020B0804020101010102" pitchFamily="34" charset="0"/>
              </a:rPr>
              <a:t>Bac +3</a:t>
            </a:r>
            <a:endParaRPr kumimoji="0" lang="fr-FR" sz="1200" b="0" u="none" strike="noStrike" kern="1200" cap="none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3C79BF-60FD-5E49-5F46-3CB1F5A4A524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accent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30</a:t>
            </a:fld>
            <a:endParaRPr lang="fr-FR" sz="900" dirty="0">
              <a:solidFill>
                <a:schemeClr val="accent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249745D-F8BA-C3BB-B826-81FC42EE90C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15706E8-CAC6-FB66-5422-982F4F4A408B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2B01670-A182-627E-143F-DB9FDB5C0AC1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3EB45F-A75C-ECD1-B1CD-AD2352BDD7FE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9566698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73843-8CB7-B473-B2B6-E2C840823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F42639A-F9EC-6834-1501-3B02B125F522}"/>
              </a:ext>
            </a:extLst>
          </p:cNvPr>
          <p:cNvSpPr txBox="1">
            <a:spLocks/>
          </p:cNvSpPr>
          <p:nvPr/>
        </p:nvSpPr>
        <p:spPr>
          <a:xfrm>
            <a:off x="539551" y="508050"/>
            <a:ext cx="8108844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fr-FR" sz="3200" noProof="1">
                <a:solidFill>
                  <a:schemeClr val="accent3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Services Atlas </a:t>
            </a:r>
            <a:r>
              <a:rPr lang="fr-FR" sz="3200" noProof="1">
                <a:solidFill>
                  <a:schemeClr val="tx2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pour le recrutement en </a:t>
            </a:r>
            <a:r>
              <a:rPr lang="fr-FR" sz="3200" noProof="1">
                <a:solidFill>
                  <a:schemeClr val="accent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alternanc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9CD58CF6-87A8-0EF6-82AD-3835D860E5C1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81F360E4-9C4D-EE03-9161-0D68C8C74B8B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C225A90-1712-0755-635B-ADF455608D37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33B3F93E-C95C-2F24-AA22-AC22D1F17E6F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CA9FC2D9-265C-334A-A6BE-452202F71768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F0C65492-3753-3A02-B210-9621BDF10D20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63BE21D3-DEDC-CEE3-CFF3-785174BCC1A2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AB553C27-ED32-05E7-130E-4AB82D2C19E5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50FB665B-DBD0-436A-6AE6-3D07EA294D1C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953BFD13-8DB6-F07F-70C7-31C9853AC941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B4B4548C-D748-E2F5-7C5C-729385B65DB5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5167494D-A855-E4F4-623E-3225916A4DB2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3A7411DC-33AD-AE85-95FA-5B5B8A0B528F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28917DBA-1126-BD42-4E0D-FBD448E809D0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138DA00D-10A5-871E-D306-AA3A9971DE93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863B4079-673D-96A5-4909-3418F4FA0BE1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DE8B7AE9-86CE-B1CA-6C28-61EEB8CB9FC4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9BA1045E-20A0-26D9-A160-E3F224EBD470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A509CA29-2B5A-82F1-218C-4BB086540DA0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A544BC2F-0AD2-968C-32BD-C6E4F4A0745F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580D67F1-5E7B-639B-4DC8-B50D5E0E45F9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4099916-75B2-7873-DF44-DAD9CBB02BC6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35FA18C9-A6C8-FF8F-6C5A-B9BB4980A11D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D0137ACA-50D0-7029-91D3-8C0FD658FC3F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D5372867-3566-74F3-D8DE-D8E2D9794B3F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27E509BB-CA43-D192-E75D-C53EE5845EDA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D52B8E12-4B93-0209-0E36-D20F5347D082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04F192DA-8509-8874-0FC6-1BFAAB091DFD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55BD5B2D-E7D2-A002-2235-AB1C0DD96412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8D2CA24F-75F0-648B-9875-3A22688FC514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269F88A0-9C61-3987-35FB-A09423BABBE0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0A384BB9-BAE4-E91B-F553-AB2701275375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6E8AF96-4DB8-A5FF-A5A6-AD141202B62F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EDF28CA-8CC1-B10F-54F3-A53949A8AA3D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D4F2F116-68D1-BC77-4060-6874C11258B8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EA968713-8DC2-319C-0FA0-E0CF1D0AD5AD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A2CB86FD-3D62-6012-55ED-96DA81837BBB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81C34431-C123-EEC2-DA88-B28A40228F37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0D38CF6E-4B8F-6273-29C4-A3F0EA0B486C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D57CCAD8-F515-E5DC-F595-AE35353AA062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9D7D4DF3-3D0F-D99D-1FF4-B82554C397DA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1A2DD97F-B579-6EEA-486B-710F9572A946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0CB580A3-75A6-4FB9-F881-66AA4B68C888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9FAE9855-8EDD-D617-F378-C97BE395B506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485534AE-1511-FEB1-34D0-9E3D382BCFCD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D8E04CC4-5DDC-0263-37DA-9C520A129E6D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12DE160A-6E85-ABB1-84BA-134A592454FC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D44C490B-42A1-905E-D1EA-794307B0CF64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C04AD3CC-2352-E3D6-F750-B8968B745C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699BC2BF-1FD5-6EA5-FDC9-664140859B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74878E59-E634-BBC2-1D1C-93BFEC77A59B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5101F2B4-EA48-1637-90EF-418663D59546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438DBDC8-2470-FC19-A5BF-EE1F5BAD69A4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F508A6A3-727A-71F7-54C9-0F89E4DBF7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4F7416A8-E98D-0963-7589-5CDBAC57B1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D8A3A062-2D83-426B-B7DD-6FC0DA4C86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328F2E45-1228-7384-619B-98B1A7ADFA2B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25ABD83F-8B8E-F39E-B6A7-A15FF88E6214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A2DCDF7D-8E8D-31FD-B3D4-FA96F12BD325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3D43B1FE-50B4-E0AF-3428-6922414AFCAF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AF547C5E-6313-45A1-40F6-02560A8A100F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5DE656C1-2FB6-6ADE-6029-56E0E949C4E3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05703F51-8356-8B63-CE8C-AE9A104B555D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9CEC3E1A-18D2-47AF-6D96-6C0370B26C3E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9588FEC2-FE22-1841-9E33-A33FF5A3E2FD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84ACD0A5-C74C-600B-3BED-084D70207DDB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2D6D9959-163B-3C09-5CB2-A074323F4DC0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02A3D30A-80FA-5144-447F-B4BBD499615F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D25E2ED8-C79B-D679-FC3C-EB19CC6FE8B6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FE9C3C50-0569-771E-3B46-459D52F74334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2EE8D630-2B90-7036-42DF-87AB24B03E98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71D7D8AC-9943-C085-FD06-4162074D1CCA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A368DEE4-2531-25E7-C6C2-9FC983413F19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36DEFF21-F57A-F066-C7F0-BF558472BF77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610A01ED-A2FE-F9CA-487D-86E7FAD74E4D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536B1B3-DFAA-4293-B79F-CB37BF7A9667}" type="slidenum">
              <a:rPr lang="fr-FR" sz="900" smtClean="0">
                <a:solidFill>
                  <a:schemeClr val="bg1"/>
                </a:solidFill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31</a:t>
            </a:fld>
            <a:endParaRPr lang="fr-FR" sz="900" dirty="0">
              <a:solidFill>
                <a:schemeClr val="bg1"/>
              </a:solidFill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A272CAAA-3443-7C22-C7F0-7851AB076348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A7A1E588-FD42-8306-F028-3114CFA33F92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E6BBF26-6260-5E94-7B8D-38ED1C6ED69E}"/>
              </a:ext>
            </a:extLst>
          </p:cNvPr>
          <p:cNvSpPr>
            <a:spLocks/>
          </p:cNvSpPr>
          <p:nvPr/>
        </p:nvSpPr>
        <p:spPr>
          <a:xfrm>
            <a:off x="881643" y="3466961"/>
            <a:ext cx="7380714" cy="795839"/>
          </a:xfrm>
          <a:prstGeom prst="roundRect">
            <a:avLst>
              <a:gd name="adj" fmla="val 14958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E7003FE-8F23-7557-D815-A04C672F2C7D}"/>
              </a:ext>
            </a:extLst>
          </p:cNvPr>
          <p:cNvCxnSpPr>
            <a:cxnSpLocks/>
          </p:cNvCxnSpPr>
          <p:nvPr/>
        </p:nvCxnSpPr>
        <p:spPr>
          <a:xfrm>
            <a:off x="948469" y="1656896"/>
            <a:ext cx="730793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68E404-34F4-1BF4-3222-6AF706804D6C}"/>
              </a:ext>
            </a:extLst>
          </p:cNvPr>
          <p:cNvCxnSpPr>
            <a:cxnSpLocks/>
          </p:cNvCxnSpPr>
          <p:nvPr/>
        </p:nvCxnSpPr>
        <p:spPr>
          <a:xfrm>
            <a:off x="948469" y="2093551"/>
            <a:ext cx="730793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088F05C-39FE-2310-8017-1F2E4BE1F6DD}"/>
              </a:ext>
            </a:extLst>
          </p:cNvPr>
          <p:cNvCxnSpPr>
            <a:cxnSpLocks/>
          </p:cNvCxnSpPr>
          <p:nvPr/>
        </p:nvCxnSpPr>
        <p:spPr>
          <a:xfrm>
            <a:off x="948469" y="2535189"/>
            <a:ext cx="730793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D67A15A-9C84-546D-DB3E-14FC8AC31FDD}"/>
              </a:ext>
            </a:extLst>
          </p:cNvPr>
          <p:cNvCxnSpPr>
            <a:cxnSpLocks/>
          </p:cNvCxnSpPr>
          <p:nvPr/>
        </p:nvCxnSpPr>
        <p:spPr>
          <a:xfrm>
            <a:off x="948469" y="2976980"/>
            <a:ext cx="730793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 : coins arrondis 86">
            <a:extLst>
              <a:ext uri="{FF2B5EF4-FFF2-40B4-BE49-F238E27FC236}">
                <a16:creationId xmlns:a16="http://schemas.microsoft.com/office/drawing/2014/main" id="{73FE14D3-D23F-D87D-B0B9-40F4B2BDF9B3}"/>
              </a:ext>
            </a:extLst>
          </p:cNvPr>
          <p:cNvSpPr/>
          <p:nvPr/>
        </p:nvSpPr>
        <p:spPr>
          <a:xfrm>
            <a:off x="3287425" y="3588903"/>
            <a:ext cx="1481261" cy="551956"/>
          </a:xfrm>
          <a:prstGeom prst="roundRect">
            <a:avLst>
              <a:gd name="adj" fmla="val 9152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5" name="Rectangle : coins arrondis 86">
            <a:extLst>
              <a:ext uri="{FF2B5EF4-FFF2-40B4-BE49-F238E27FC236}">
                <a16:creationId xmlns:a16="http://schemas.microsoft.com/office/drawing/2014/main" id="{DF212A45-B582-54BA-B2B8-E025618881A3}"/>
              </a:ext>
            </a:extLst>
          </p:cNvPr>
          <p:cNvSpPr/>
          <p:nvPr/>
        </p:nvSpPr>
        <p:spPr>
          <a:xfrm>
            <a:off x="4954945" y="3588903"/>
            <a:ext cx="1481261" cy="551956"/>
          </a:xfrm>
          <a:prstGeom prst="roundRect">
            <a:avLst>
              <a:gd name="adj" fmla="val 9152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6" name="Rectangle : coins arrondis 86">
            <a:extLst>
              <a:ext uri="{FF2B5EF4-FFF2-40B4-BE49-F238E27FC236}">
                <a16:creationId xmlns:a16="http://schemas.microsoft.com/office/drawing/2014/main" id="{CB26BAAA-760A-42E0-FB3D-49D02CF7764D}"/>
              </a:ext>
            </a:extLst>
          </p:cNvPr>
          <p:cNvSpPr/>
          <p:nvPr/>
        </p:nvSpPr>
        <p:spPr>
          <a:xfrm>
            <a:off x="6622467" y="3588903"/>
            <a:ext cx="1481261" cy="551956"/>
          </a:xfrm>
          <a:prstGeom prst="roundRect">
            <a:avLst>
              <a:gd name="adj" fmla="val 9152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50D300E-3B87-0596-22BA-9ADCE5A1B93D}"/>
              </a:ext>
            </a:extLst>
          </p:cNvPr>
          <p:cNvGrpSpPr/>
          <p:nvPr/>
        </p:nvGrpSpPr>
        <p:grpSpPr>
          <a:xfrm>
            <a:off x="1186697" y="3590712"/>
            <a:ext cx="1845299" cy="573579"/>
            <a:chOff x="796247" y="3553645"/>
            <a:chExt cx="1988354" cy="618045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E6AD9DB-CE5F-27C7-65F2-9843E0340A4B}"/>
                </a:ext>
              </a:extLst>
            </p:cNvPr>
            <p:cNvSpPr txBox="1">
              <a:spLocks/>
            </p:cNvSpPr>
            <p:nvPr/>
          </p:nvSpPr>
          <p:spPr>
            <a:xfrm>
              <a:off x="796247" y="3553645"/>
              <a:ext cx="1988354" cy="39796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lvl="0">
                <a:defRPr/>
              </a:pPr>
              <a:r>
                <a:rPr lang="fr-FR" sz="2400" i="1" noProof="1">
                  <a:solidFill>
                    <a:schemeClr val="accent1"/>
                  </a:solidFill>
                  <a:latin typeface="Rift Demi" panose="00000500000000000000" pitchFamily="50" charset="0"/>
                  <a:ea typeface="Circular Std Light" panose="020B0404020101020102" pitchFamily="34" charset="0"/>
                  <a:cs typeface="Circular Std Bold" panose="020B0804020101010102" pitchFamily="34" charset="0"/>
                </a:rPr>
                <a:t>Les jobdatings</a:t>
              </a:r>
              <a:endParaRPr lang="fr-FR" sz="20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A9EEF5E-8BF3-2A68-FABC-C84300AEFB22}"/>
                </a:ext>
              </a:extLst>
            </p:cNvPr>
            <p:cNvSpPr txBox="1">
              <a:spLocks/>
            </p:cNvSpPr>
            <p:nvPr/>
          </p:nvSpPr>
          <p:spPr>
            <a:xfrm>
              <a:off x="796247" y="3873217"/>
              <a:ext cx="1988354" cy="2984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lvl="0">
                <a:defRPr/>
              </a:pPr>
              <a:r>
                <a:rPr lang="fr-FR" i="1" noProof="1">
                  <a:solidFill>
                    <a:schemeClr val="accent3"/>
                  </a:solidFill>
                  <a:latin typeface="Rift Demi" panose="00000500000000000000" pitchFamily="50" charset="0"/>
                  <a:ea typeface="Circular Std Light" panose="020B0404020101020102" pitchFamily="34" charset="0"/>
                  <a:cs typeface="Circular Std Bold" panose="020B0804020101010102" pitchFamily="34" charset="0"/>
                </a:rPr>
                <a:t>dans notre région </a:t>
              </a:r>
              <a:endParaRPr lang="fr-FR" sz="2400" i="1" noProof="1">
                <a:solidFill>
                  <a:schemeClr val="accent3"/>
                </a:solidFill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endParaRPr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99BB0B1-A407-B9CB-DCDF-70097E00F39E}"/>
              </a:ext>
            </a:extLst>
          </p:cNvPr>
          <p:cNvCxnSpPr>
            <a:cxnSpLocks/>
          </p:cNvCxnSpPr>
          <p:nvPr/>
        </p:nvCxnSpPr>
        <p:spPr>
          <a:xfrm flipH="1">
            <a:off x="7661278" y="1656896"/>
            <a:ext cx="59512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8874DA8-9BD6-8361-C7A2-255308BD0BE0}"/>
              </a:ext>
            </a:extLst>
          </p:cNvPr>
          <p:cNvCxnSpPr>
            <a:cxnSpLocks/>
          </p:cNvCxnSpPr>
          <p:nvPr/>
        </p:nvCxnSpPr>
        <p:spPr>
          <a:xfrm flipH="1">
            <a:off x="7661278" y="2093551"/>
            <a:ext cx="59512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8EAC432-79B3-D124-E125-24BBF0127BE7}"/>
              </a:ext>
            </a:extLst>
          </p:cNvPr>
          <p:cNvCxnSpPr>
            <a:cxnSpLocks/>
          </p:cNvCxnSpPr>
          <p:nvPr/>
        </p:nvCxnSpPr>
        <p:spPr>
          <a:xfrm flipH="1">
            <a:off x="7661278" y="2535189"/>
            <a:ext cx="59512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5A86706-65B5-B612-62B0-D7B47663734A}"/>
              </a:ext>
            </a:extLst>
          </p:cNvPr>
          <p:cNvCxnSpPr>
            <a:cxnSpLocks/>
          </p:cNvCxnSpPr>
          <p:nvPr/>
        </p:nvCxnSpPr>
        <p:spPr>
          <a:xfrm flipH="1">
            <a:off x="7661278" y="2976980"/>
            <a:ext cx="59512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8" descr="Une image contenant Police, Graphique, texte, graphisme&#10;&#10;Description générée automatiquement">
            <a:extLst>
              <a:ext uri="{FF2B5EF4-FFF2-40B4-BE49-F238E27FC236}">
                <a16:creationId xmlns:a16="http://schemas.microsoft.com/office/drawing/2014/main" id="{5C72C68C-F9EA-1349-6697-AFB6C772B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630" y="1305653"/>
            <a:ext cx="718770" cy="22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40DC603-BAF1-CAA9-6CB3-F143DA416B17}"/>
              </a:ext>
            </a:extLst>
          </p:cNvPr>
          <p:cNvSpPr txBox="1">
            <a:spLocks/>
          </p:cNvSpPr>
          <p:nvPr/>
        </p:nvSpPr>
        <p:spPr>
          <a:xfrm>
            <a:off x="1187624" y="1315458"/>
            <a:ext cx="4023927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Trouver une école / CFA 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E30D7AAD-EB4E-1419-9A18-74E99A5BC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1712" y="1800367"/>
            <a:ext cx="994688" cy="10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E637A1FA-412C-3116-FEFB-0A98D6155D14}"/>
              </a:ext>
            </a:extLst>
          </p:cNvPr>
          <p:cNvSpPr txBox="1">
            <a:spLocks/>
          </p:cNvSpPr>
          <p:nvPr/>
        </p:nvSpPr>
        <p:spPr>
          <a:xfrm>
            <a:off x="1187624" y="1752113"/>
            <a:ext cx="4023927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Trouver un candidat</a:t>
            </a:r>
          </a:p>
        </p:txBody>
      </p:sp>
      <p:pic>
        <p:nvPicPr>
          <p:cNvPr id="12" name="Image 11" descr="Une image contenant Police, Graphique, graphisme, texte&#10;&#10;Le contenu généré par l’IA peut être incorrect.">
            <a:extLst>
              <a:ext uri="{FF2B5EF4-FFF2-40B4-BE49-F238E27FC236}">
                <a16:creationId xmlns:a16="http://schemas.microsoft.com/office/drawing/2014/main" id="{ED1C82AD-99B5-6157-78AC-FBE4EB8F0F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5988" y="2188768"/>
            <a:ext cx="1130412" cy="251204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4B8E1B0D-0E7F-90F8-C7BD-A411BD74FC28}"/>
              </a:ext>
            </a:extLst>
          </p:cNvPr>
          <p:cNvSpPr txBox="1">
            <a:spLocks/>
          </p:cNvSpPr>
          <p:nvPr/>
        </p:nvSpPr>
        <p:spPr>
          <a:xfrm>
            <a:off x="1187624" y="2190571"/>
            <a:ext cx="4023927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Connaître le coût du contrat</a:t>
            </a:r>
          </a:p>
        </p:txBody>
      </p:sp>
      <p:pic>
        <p:nvPicPr>
          <p:cNvPr id="13" name="Image 13" descr="Une image contenant Police, Graphique, graphisme, texte&#10;&#10;Le contenu généré par l’IA peut être incorrect.">
            <a:extLst>
              <a:ext uri="{FF2B5EF4-FFF2-40B4-BE49-F238E27FC236}">
                <a16:creationId xmlns:a16="http://schemas.microsoft.com/office/drawing/2014/main" id="{EF413250-29AF-02ED-7D09-7F7009E6F6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9065" y="2630406"/>
            <a:ext cx="967335" cy="251357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B86A11E3-D963-EE43-8A0D-47D385D1E32A}"/>
              </a:ext>
            </a:extLst>
          </p:cNvPr>
          <p:cNvSpPr txBox="1">
            <a:spLocks/>
          </p:cNvSpPr>
          <p:nvPr/>
        </p:nvSpPr>
        <p:spPr>
          <a:xfrm>
            <a:off x="1187624" y="2634132"/>
            <a:ext cx="5691450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Former, motiver, valoriser mes tuteurs</a:t>
            </a:r>
            <a:r>
              <a:rPr lang="fr-FR" sz="1600" i="1" dirty="0">
                <a:solidFill>
                  <a:schemeClr val="accent1"/>
                </a:solidFill>
                <a:latin typeface="Rift Demi" panose="00000500000000000000" pitchFamily="50" charset="0"/>
                <a:cs typeface="Circular Std Bold" panose="020B0804020101010102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et maîtres d’apprentissage</a:t>
            </a:r>
          </a:p>
        </p:txBody>
      </p:sp>
      <p:pic>
        <p:nvPicPr>
          <p:cNvPr id="15" name="Image 18" descr="Une image contenant Police, Graphique, texte, graphisme&#10;&#10;Le contenu généré par l’IA peut être incorrect.">
            <a:extLst>
              <a:ext uri="{FF2B5EF4-FFF2-40B4-BE49-F238E27FC236}">
                <a16:creationId xmlns:a16="http://schemas.microsoft.com/office/drawing/2014/main" id="{EFD85F3B-31A3-1CA5-5AB2-80FE33A7DE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03010" y="3072199"/>
            <a:ext cx="953389" cy="263369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3F6A7A40-A7ED-2D72-5D4E-369EFF35B87C}"/>
              </a:ext>
            </a:extLst>
          </p:cNvPr>
          <p:cNvSpPr txBox="1">
            <a:spLocks/>
          </p:cNvSpPr>
          <p:nvPr/>
        </p:nvSpPr>
        <p:spPr>
          <a:xfrm>
            <a:off x="1187624" y="3080680"/>
            <a:ext cx="5691450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Intégrer et accompagner mon alternant </a:t>
            </a:r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1E494A32-7426-341B-FBD5-2FDBB4CA900A}"/>
              </a:ext>
            </a:extLst>
          </p:cNvPr>
          <p:cNvGrpSpPr/>
          <p:nvPr/>
        </p:nvGrpSpPr>
        <p:grpSpPr>
          <a:xfrm>
            <a:off x="6646472" y="1273580"/>
            <a:ext cx="386183" cy="2090258"/>
            <a:chOff x="948469" y="1144374"/>
            <a:chExt cx="386183" cy="2090258"/>
          </a:xfrm>
        </p:grpSpPr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8E2A688-32FD-73E5-8237-218ECD7CCF58}"/>
                </a:ext>
              </a:extLst>
            </p:cNvPr>
            <p:cNvGrpSpPr/>
            <p:nvPr/>
          </p:nvGrpSpPr>
          <p:grpSpPr>
            <a:xfrm>
              <a:off x="948469" y="1579433"/>
              <a:ext cx="386183" cy="333168"/>
              <a:chOff x="948469" y="1579433"/>
              <a:chExt cx="386183" cy="333168"/>
            </a:xfrm>
          </p:grpSpPr>
          <p:sp>
            <p:nvSpPr>
              <p:cNvPr id="92" name="Isosceles Triangle 91">
                <a:extLst>
                  <a:ext uri="{FF2B5EF4-FFF2-40B4-BE49-F238E27FC236}">
                    <a16:creationId xmlns:a16="http://schemas.microsoft.com/office/drawing/2014/main" id="{CDC2A751-EE8A-EE9F-B3F7-98D72B424701}"/>
                  </a:ext>
                </a:extLst>
              </p:cNvPr>
              <p:cNvSpPr/>
              <p:nvPr/>
            </p:nvSpPr>
            <p:spPr>
              <a:xfrm rot="5400000">
                <a:off x="925495" y="1602407"/>
                <a:ext cx="333168" cy="287220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accent2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93" name="Isosceles Triangle 92">
                <a:extLst>
                  <a:ext uri="{FF2B5EF4-FFF2-40B4-BE49-F238E27FC236}">
                    <a16:creationId xmlns:a16="http://schemas.microsoft.com/office/drawing/2014/main" id="{18BF96C9-CB05-7B4C-4174-5EF13EE42604}"/>
                  </a:ext>
                </a:extLst>
              </p:cNvPr>
              <p:cNvSpPr/>
              <p:nvPr/>
            </p:nvSpPr>
            <p:spPr>
              <a:xfrm rot="5400000">
                <a:off x="1175092" y="1672150"/>
                <a:ext cx="171377" cy="147743"/>
              </a:xfrm>
              <a:prstGeom prst="triangle">
                <a:avLst/>
              </a:prstGeom>
              <a:gradFill flip="none" rotWithShape="1">
                <a:gsLst>
                  <a:gs pos="0">
                    <a:schemeClr val="accent2">
                      <a:lumMod val="40000"/>
                      <a:lumOff val="60000"/>
                      <a:alpha val="0"/>
                    </a:schemeClr>
                  </a:gs>
                  <a:gs pos="100000">
                    <a:schemeClr val="accent2">
                      <a:alpha val="5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  <p:sp>
          <p:nvSpPr>
            <p:cNvPr id="189" name="Isosceles Triangle 188">
              <a:extLst>
                <a:ext uri="{FF2B5EF4-FFF2-40B4-BE49-F238E27FC236}">
                  <a16:creationId xmlns:a16="http://schemas.microsoft.com/office/drawing/2014/main" id="{7BF42B2D-638E-E67B-0871-4F99B7A8E07F}"/>
                </a:ext>
              </a:extLst>
            </p:cNvPr>
            <p:cNvSpPr/>
            <p:nvPr/>
          </p:nvSpPr>
          <p:spPr>
            <a:xfrm rot="5400000">
              <a:off x="925495" y="2036420"/>
              <a:ext cx="333168" cy="287220"/>
            </a:xfrm>
            <a:prstGeom prst="triangl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90" name="Isosceles Triangle 189">
              <a:extLst>
                <a:ext uri="{FF2B5EF4-FFF2-40B4-BE49-F238E27FC236}">
                  <a16:creationId xmlns:a16="http://schemas.microsoft.com/office/drawing/2014/main" id="{CE27D13C-41F3-74D4-0DEE-7D7B9FD59D3F}"/>
                </a:ext>
              </a:extLst>
            </p:cNvPr>
            <p:cNvSpPr/>
            <p:nvPr/>
          </p:nvSpPr>
          <p:spPr>
            <a:xfrm rot="5400000">
              <a:off x="1175092" y="2106163"/>
              <a:ext cx="171377" cy="147743"/>
            </a:xfrm>
            <a:prstGeom prst="triangle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alpha val="0"/>
                  </a:schemeClr>
                </a:gs>
                <a:gs pos="100000">
                  <a:schemeClr val="accent2">
                    <a:alpha val="5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94" name="Isosceles Triangle 193">
              <a:extLst>
                <a:ext uri="{FF2B5EF4-FFF2-40B4-BE49-F238E27FC236}">
                  <a16:creationId xmlns:a16="http://schemas.microsoft.com/office/drawing/2014/main" id="{D7953D63-DC2B-B554-4738-D7B50793DBEA}"/>
                </a:ext>
              </a:extLst>
            </p:cNvPr>
            <p:cNvSpPr/>
            <p:nvPr/>
          </p:nvSpPr>
          <p:spPr>
            <a:xfrm rot="5400000">
              <a:off x="925495" y="2490425"/>
              <a:ext cx="333168" cy="287220"/>
            </a:xfrm>
            <a:prstGeom prst="triangl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95" name="Isosceles Triangle 194">
              <a:extLst>
                <a:ext uri="{FF2B5EF4-FFF2-40B4-BE49-F238E27FC236}">
                  <a16:creationId xmlns:a16="http://schemas.microsoft.com/office/drawing/2014/main" id="{65611FC1-B742-0D16-601D-10F6C50B4709}"/>
                </a:ext>
              </a:extLst>
            </p:cNvPr>
            <p:cNvSpPr/>
            <p:nvPr/>
          </p:nvSpPr>
          <p:spPr>
            <a:xfrm rot="5400000">
              <a:off x="1175092" y="2560168"/>
              <a:ext cx="171377" cy="147743"/>
            </a:xfrm>
            <a:prstGeom prst="triangle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alpha val="0"/>
                  </a:schemeClr>
                </a:gs>
                <a:gs pos="100000">
                  <a:schemeClr val="accent2">
                    <a:alpha val="5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99" name="Isosceles Triangle 198">
              <a:extLst>
                <a:ext uri="{FF2B5EF4-FFF2-40B4-BE49-F238E27FC236}">
                  <a16:creationId xmlns:a16="http://schemas.microsoft.com/office/drawing/2014/main" id="{A6D2F30D-B3C8-EC59-B5B2-DC50638A4838}"/>
                </a:ext>
              </a:extLst>
            </p:cNvPr>
            <p:cNvSpPr/>
            <p:nvPr/>
          </p:nvSpPr>
          <p:spPr>
            <a:xfrm rot="5400000">
              <a:off x="925495" y="2924438"/>
              <a:ext cx="333168" cy="287220"/>
            </a:xfrm>
            <a:prstGeom prst="triangl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00" name="Isosceles Triangle 199">
              <a:extLst>
                <a:ext uri="{FF2B5EF4-FFF2-40B4-BE49-F238E27FC236}">
                  <a16:creationId xmlns:a16="http://schemas.microsoft.com/office/drawing/2014/main" id="{832A21E2-C501-9B4D-27C9-3D3F50D85F74}"/>
                </a:ext>
              </a:extLst>
            </p:cNvPr>
            <p:cNvSpPr/>
            <p:nvPr/>
          </p:nvSpPr>
          <p:spPr>
            <a:xfrm rot="5400000">
              <a:off x="1175092" y="2994181"/>
              <a:ext cx="171377" cy="147743"/>
            </a:xfrm>
            <a:prstGeom prst="triangle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alpha val="0"/>
                  </a:schemeClr>
                </a:gs>
                <a:gs pos="100000">
                  <a:schemeClr val="accent2">
                    <a:alpha val="5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3575FB4E-E6EA-60AE-79A5-C060A4CFC79B}"/>
                </a:ext>
              </a:extLst>
            </p:cNvPr>
            <p:cNvGrpSpPr/>
            <p:nvPr/>
          </p:nvGrpSpPr>
          <p:grpSpPr>
            <a:xfrm>
              <a:off x="948469" y="1144374"/>
              <a:ext cx="386183" cy="333168"/>
              <a:chOff x="948469" y="1579433"/>
              <a:chExt cx="386183" cy="333168"/>
            </a:xfrm>
          </p:grpSpPr>
          <p:sp>
            <p:nvSpPr>
              <p:cNvPr id="213" name="Isosceles Triangle 212">
                <a:extLst>
                  <a:ext uri="{FF2B5EF4-FFF2-40B4-BE49-F238E27FC236}">
                    <a16:creationId xmlns:a16="http://schemas.microsoft.com/office/drawing/2014/main" id="{9445729D-AD52-E42E-6801-A0A21B6C0F4B}"/>
                  </a:ext>
                </a:extLst>
              </p:cNvPr>
              <p:cNvSpPr/>
              <p:nvPr/>
            </p:nvSpPr>
            <p:spPr>
              <a:xfrm rot="5400000">
                <a:off x="925495" y="1602407"/>
                <a:ext cx="333168" cy="287220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accent2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214" name="Isosceles Triangle 213">
                <a:extLst>
                  <a:ext uri="{FF2B5EF4-FFF2-40B4-BE49-F238E27FC236}">
                    <a16:creationId xmlns:a16="http://schemas.microsoft.com/office/drawing/2014/main" id="{2503001C-B906-A392-5752-EE73D4692B47}"/>
                  </a:ext>
                </a:extLst>
              </p:cNvPr>
              <p:cNvSpPr/>
              <p:nvPr/>
            </p:nvSpPr>
            <p:spPr>
              <a:xfrm rot="5400000">
                <a:off x="1175092" y="1672150"/>
                <a:ext cx="171377" cy="147743"/>
              </a:xfrm>
              <a:prstGeom prst="triangle">
                <a:avLst/>
              </a:prstGeom>
              <a:gradFill flip="none" rotWithShape="1">
                <a:gsLst>
                  <a:gs pos="0">
                    <a:schemeClr val="accent2">
                      <a:lumMod val="40000"/>
                      <a:lumOff val="60000"/>
                      <a:alpha val="0"/>
                    </a:schemeClr>
                  </a:gs>
                  <a:gs pos="100000">
                    <a:schemeClr val="accent2">
                      <a:alpha val="5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</p:grpSp>
      <p:sp>
        <p:nvSpPr>
          <p:cNvPr id="215" name="TextBox 214">
            <a:extLst>
              <a:ext uri="{FF2B5EF4-FFF2-40B4-BE49-F238E27FC236}">
                <a16:creationId xmlns:a16="http://schemas.microsoft.com/office/drawing/2014/main" id="{C883DF56-92AE-0EFF-3B38-B61393B5F0D9}"/>
              </a:ext>
            </a:extLst>
          </p:cNvPr>
          <p:cNvSpPr txBox="1">
            <a:spLocks/>
          </p:cNvSpPr>
          <p:nvPr/>
        </p:nvSpPr>
        <p:spPr>
          <a:xfrm>
            <a:off x="3593103" y="3979624"/>
            <a:ext cx="869904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ate: XX/XX/XXXX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12BD169F-97F5-2285-6911-E8385AB230DC}"/>
              </a:ext>
            </a:extLst>
          </p:cNvPr>
          <p:cNvSpPr txBox="1">
            <a:spLocks/>
          </p:cNvSpPr>
          <p:nvPr/>
        </p:nvSpPr>
        <p:spPr>
          <a:xfrm>
            <a:off x="3454895" y="3663085"/>
            <a:ext cx="114632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+mj-lt"/>
              <a:ea typeface="Circular Std Light" panose="020B0404020101020102" pitchFamily="34" charset="0"/>
              <a:cs typeface="Circular Pro Black Italic" panose="020B0A04020101010102" pitchFamily="34" charset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F89BFC43-2EE3-4B4D-C2A5-4EC2475083EA}"/>
              </a:ext>
            </a:extLst>
          </p:cNvPr>
          <p:cNvSpPr txBox="1">
            <a:spLocks/>
          </p:cNvSpPr>
          <p:nvPr/>
        </p:nvSpPr>
        <p:spPr>
          <a:xfrm>
            <a:off x="5260623" y="3979624"/>
            <a:ext cx="869904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ate: XX/XX/XXXX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7D739C5B-FDDF-770A-0CAC-7F65CE2ECB2D}"/>
              </a:ext>
            </a:extLst>
          </p:cNvPr>
          <p:cNvSpPr txBox="1">
            <a:spLocks/>
          </p:cNvSpPr>
          <p:nvPr/>
        </p:nvSpPr>
        <p:spPr>
          <a:xfrm>
            <a:off x="5122415" y="3663085"/>
            <a:ext cx="114632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+mj-lt"/>
              <a:ea typeface="Circular Std Light" panose="020B0404020101020102" pitchFamily="34" charset="0"/>
              <a:cs typeface="Circular Pro Black Italic" panose="020B0A04020101010102" pitchFamily="34" charset="0"/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57F0B153-E6FF-DD7C-D7BB-9DCA0F00B0FF}"/>
              </a:ext>
            </a:extLst>
          </p:cNvPr>
          <p:cNvSpPr txBox="1">
            <a:spLocks/>
          </p:cNvSpPr>
          <p:nvPr/>
        </p:nvSpPr>
        <p:spPr>
          <a:xfrm>
            <a:off x="6928145" y="3979624"/>
            <a:ext cx="869904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ea typeface="Circular Std Light" panose="020B0404020101020102" pitchFamily="34" charset="0"/>
                <a:cs typeface="Circular Pro Black Italic" panose="020B0A04020101010102" pitchFamily="34" charset="0"/>
              </a:rPr>
              <a:t>Date: XX/XX/XXXX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8A4A900D-380D-7390-1C50-6659C09EA510}"/>
              </a:ext>
            </a:extLst>
          </p:cNvPr>
          <p:cNvSpPr txBox="1">
            <a:spLocks/>
          </p:cNvSpPr>
          <p:nvPr/>
        </p:nvSpPr>
        <p:spPr>
          <a:xfrm>
            <a:off x="6789937" y="3663085"/>
            <a:ext cx="114632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Lorem ipsum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dolo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</a:b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it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+mj-l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amet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+mj-lt"/>
              <a:ea typeface="Circular Std Light" panose="020B0404020101020102" pitchFamily="34" charset="0"/>
              <a:cs typeface="Circular Pro Black Italic" panose="020B0A04020101010102" pitchFamily="34" charset="0"/>
            </a:endParaRPr>
          </a:p>
        </p:txBody>
      </p: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E624B5CC-FE7A-0DE6-D7AE-9A34F72CEF53}"/>
              </a:ext>
            </a:extLst>
          </p:cNvPr>
          <p:cNvGrpSpPr/>
          <p:nvPr/>
        </p:nvGrpSpPr>
        <p:grpSpPr>
          <a:xfrm>
            <a:off x="948469" y="1371332"/>
            <a:ext cx="134472" cy="134472"/>
            <a:chOff x="954031" y="1208844"/>
            <a:chExt cx="201036" cy="201036"/>
          </a:xfrm>
        </p:grpSpPr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166C6189-2AE1-213F-AADB-D1F389549F24}"/>
                </a:ext>
              </a:extLst>
            </p:cNvPr>
            <p:cNvSpPr/>
            <p:nvPr/>
          </p:nvSpPr>
          <p:spPr>
            <a:xfrm>
              <a:off x="954031" y="1208844"/>
              <a:ext cx="201036" cy="20103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7" name="Graphic 226">
              <a:extLst>
                <a:ext uri="{FF2B5EF4-FFF2-40B4-BE49-F238E27FC236}">
                  <a16:creationId xmlns:a16="http://schemas.microsoft.com/office/drawing/2014/main" id="{0A6B65AF-2B5D-F709-E7E9-1885C00B156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9910" y="1244723"/>
              <a:ext cx="129278" cy="129278"/>
            </a:xfrm>
            <a:prstGeom prst="rect">
              <a:avLst/>
            </a:prstGeom>
          </p:spPr>
        </p:pic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08D9D34F-4A8F-8638-F801-BEC7B4E1794F}"/>
              </a:ext>
            </a:extLst>
          </p:cNvPr>
          <p:cNvGrpSpPr/>
          <p:nvPr/>
        </p:nvGrpSpPr>
        <p:grpSpPr>
          <a:xfrm>
            <a:off x="948469" y="1807987"/>
            <a:ext cx="134472" cy="134472"/>
            <a:chOff x="954031" y="1208844"/>
            <a:chExt cx="201036" cy="201036"/>
          </a:xfrm>
        </p:grpSpPr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4C4159DC-4466-34E0-09DC-BC7E553046B5}"/>
                </a:ext>
              </a:extLst>
            </p:cNvPr>
            <p:cNvSpPr/>
            <p:nvPr/>
          </p:nvSpPr>
          <p:spPr>
            <a:xfrm>
              <a:off x="954031" y="1208844"/>
              <a:ext cx="201036" cy="20103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2" name="Graphic 231">
              <a:extLst>
                <a:ext uri="{FF2B5EF4-FFF2-40B4-BE49-F238E27FC236}">
                  <a16:creationId xmlns:a16="http://schemas.microsoft.com/office/drawing/2014/main" id="{35D7D1AA-2130-E0A6-241D-5971DD9574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9910" y="1244723"/>
              <a:ext cx="129278" cy="129278"/>
            </a:xfrm>
            <a:prstGeom prst="rect">
              <a:avLst/>
            </a:prstGeom>
          </p:spPr>
        </p:pic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D41A136C-2E68-98E1-B9FF-E0F404D6DB78}"/>
              </a:ext>
            </a:extLst>
          </p:cNvPr>
          <p:cNvGrpSpPr/>
          <p:nvPr/>
        </p:nvGrpSpPr>
        <p:grpSpPr>
          <a:xfrm>
            <a:off x="948469" y="2246445"/>
            <a:ext cx="134472" cy="134472"/>
            <a:chOff x="954031" y="1208844"/>
            <a:chExt cx="201036" cy="201036"/>
          </a:xfrm>
        </p:grpSpPr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409D60E1-ED69-28D5-CD24-FB372EF0A03A}"/>
                </a:ext>
              </a:extLst>
            </p:cNvPr>
            <p:cNvSpPr/>
            <p:nvPr/>
          </p:nvSpPr>
          <p:spPr>
            <a:xfrm>
              <a:off x="954031" y="1208844"/>
              <a:ext cx="201036" cy="20103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A5F343B3-6896-ABCF-0556-13CB814E647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9910" y="1244723"/>
              <a:ext cx="129278" cy="129278"/>
            </a:xfrm>
            <a:prstGeom prst="rect">
              <a:avLst/>
            </a:prstGeom>
          </p:spPr>
        </p:pic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888CD6D-C6AF-6D44-B75C-410DFBC3B508}"/>
              </a:ext>
            </a:extLst>
          </p:cNvPr>
          <p:cNvGrpSpPr/>
          <p:nvPr/>
        </p:nvGrpSpPr>
        <p:grpSpPr>
          <a:xfrm>
            <a:off x="948469" y="2690006"/>
            <a:ext cx="134472" cy="134472"/>
            <a:chOff x="954031" y="1208844"/>
            <a:chExt cx="201036" cy="201036"/>
          </a:xfrm>
        </p:grpSpPr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8522795D-EADD-52DD-B319-E2700251CA63}"/>
                </a:ext>
              </a:extLst>
            </p:cNvPr>
            <p:cNvSpPr/>
            <p:nvPr/>
          </p:nvSpPr>
          <p:spPr>
            <a:xfrm>
              <a:off x="954031" y="1208844"/>
              <a:ext cx="201036" cy="20103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8" name="Graphic 237">
              <a:extLst>
                <a:ext uri="{FF2B5EF4-FFF2-40B4-BE49-F238E27FC236}">
                  <a16:creationId xmlns:a16="http://schemas.microsoft.com/office/drawing/2014/main" id="{504736F9-B8C3-BEBD-FABC-5FF466E93DB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9910" y="1244723"/>
              <a:ext cx="129278" cy="129278"/>
            </a:xfrm>
            <a:prstGeom prst="rect">
              <a:avLst/>
            </a:prstGeom>
          </p:spPr>
        </p:pic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34D402F7-96FE-A571-664D-2660E69A6F5D}"/>
              </a:ext>
            </a:extLst>
          </p:cNvPr>
          <p:cNvGrpSpPr/>
          <p:nvPr/>
        </p:nvGrpSpPr>
        <p:grpSpPr>
          <a:xfrm>
            <a:off x="948469" y="3136554"/>
            <a:ext cx="134472" cy="134472"/>
            <a:chOff x="954031" y="1208844"/>
            <a:chExt cx="201036" cy="201036"/>
          </a:xfrm>
        </p:grpSpPr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F9A20CC1-B31C-FE46-7E71-763470674BF2}"/>
                </a:ext>
              </a:extLst>
            </p:cNvPr>
            <p:cNvSpPr/>
            <p:nvPr/>
          </p:nvSpPr>
          <p:spPr>
            <a:xfrm>
              <a:off x="954031" y="1208844"/>
              <a:ext cx="201036" cy="20103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41" name="Graphic 240">
              <a:extLst>
                <a:ext uri="{FF2B5EF4-FFF2-40B4-BE49-F238E27FC236}">
                  <a16:creationId xmlns:a16="http://schemas.microsoft.com/office/drawing/2014/main" id="{4F43A864-34A3-EBCF-10CA-400307D8FF2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9910" y="1244723"/>
              <a:ext cx="129278" cy="129278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A584E8E-4FE1-3990-9A82-CB3B6BDF2CE2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E455BD-83C1-6173-2187-825109EE8B13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26457361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086E3-DCFC-8FC2-6FF4-0377E802F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03542E-7B0F-F133-C347-33015E938618}"/>
              </a:ext>
            </a:extLst>
          </p:cNvPr>
          <p:cNvSpPr txBox="1">
            <a:spLocks/>
          </p:cNvSpPr>
          <p:nvPr/>
        </p:nvSpPr>
        <p:spPr>
          <a:xfrm>
            <a:off x="539551" y="146705"/>
            <a:ext cx="8064898" cy="9848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1200" cap="none" spc="0" normalizeH="0" baseline="0" noProof="1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Enquête Alternance: </a:t>
            </a:r>
            <a:r>
              <a:rPr kumimoji="0" lang="fr-FR" sz="3200" b="0" i="0" u="none" strike="noStrike" kern="1200" cap="none" spc="0" normalizeH="0" baseline="0" noProof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outil d’observation de la qualité des parcours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F745E38-C35C-CDB9-6889-81F0F1A1F7A6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9DCFC961-0FB8-17CB-AA39-69C3EC699C24}"/>
              </a:ext>
            </a:extLst>
          </p:cNvPr>
          <p:cNvGrpSpPr/>
          <p:nvPr/>
        </p:nvGrpSpPr>
        <p:grpSpPr>
          <a:xfrm>
            <a:off x="559466" y="4477228"/>
            <a:ext cx="783008" cy="564892"/>
            <a:chOff x="7860931" y="4477228"/>
            <a:chExt cx="783008" cy="564892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287B2D-6180-E1BA-CEF3-71AA1D8F9DCD}"/>
                </a:ext>
              </a:extLst>
            </p:cNvPr>
            <p:cNvSpPr/>
            <p:nvPr/>
          </p:nvSpPr>
          <p:spPr>
            <a:xfrm>
              <a:off x="7860931" y="4477228"/>
              <a:ext cx="783008" cy="564892"/>
            </a:xfrm>
            <a:custGeom>
              <a:avLst/>
              <a:gdLst>
                <a:gd name="csX0" fmla="*/ 3578775 w 7129354"/>
                <a:gd name="csY0" fmla="*/ 5139247 h 5143408"/>
                <a:gd name="csX1" fmla="*/ 3578799 w 7129354"/>
                <a:gd name="csY1" fmla="*/ 5139249 h 5143408"/>
                <a:gd name="csX2" fmla="*/ 3578755 w 7129354"/>
                <a:gd name="csY2" fmla="*/ 5139249 h 5143408"/>
                <a:gd name="csX3" fmla="*/ 1074598 w 7129354"/>
                <a:gd name="csY3" fmla="*/ 0 h 5143408"/>
                <a:gd name="csX4" fmla="*/ 1084447 w 7129354"/>
                <a:gd name="csY4" fmla="*/ 131 h 5143408"/>
                <a:gd name="csX5" fmla="*/ 1254325 w 7129354"/>
                <a:gd name="csY5" fmla="*/ 42844 h 5143408"/>
                <a:gd name="csX6" fmla="*/ 1281628 w 7129354"/>
                <a:gd name="csY6" fmla="*/ 60661 h 5143408"/>
                <a:gd name="csX7" fmla="*/ 1313869 w 7129354"/>
                <a:gd name="csY7" fmla="*/ 57782 h 5143408"/>
                <a:gd name="csX8" fmla="*/ 1781816 w 7129354"/>
                <a:gd name="csY8" fmla="*/ 57782 h 5143408"/>
                <a:gd name="csX9" fmla="*/ 1834951 w 7129354"/>
                <a:gd name="csY9" fmla="*/ 63397 h 5143408"/>
                <a:gd name="csX10" fmla="*/ 1871336 w 7129354"/>
                <a:gd name="csY10" fmla="*/ 58526 h 5143408"/>
                <a:gd name="csX11" fmla="*/ 2007212 w 7129354"/>
                <a:gd name="csY11" fmla="*/ 58789 h 5143408"/>
                <a:gd name="csX12" fmla="*/ 2213391 w 7129354"/>
                <a:gd name="csY12" fmla="*/ 116790 h 5143408"/>
                <a:gd name="csX13" fmla="*/ 2421627 w 7129354"/>
                <a:gd name="csY13" fmla="*/ 58001 h 5143408"/>
                <a:gd name="csX14" fmla="*/ 2586394 w 7129354"/>
                <a:gd name="csY14" fmla="*/ 58001 h 5143408"/>
                <a:gd name="csX15" fmla="*/ 2738699 w 7129354"/>
                <a:gd name="csY15" fmla="*/ 88173 h 5143408"/>
                <a:gd name="csX16" fmla="*/ 2769748 w 7129354"/>
                <a:gd name="csY16" fmla="*/ 104659 h 5143408"/>
                <a:gd name="csX17" fmla="*/ 2783906 w 7129354"/>
                <a:gd name="csY17" fmla="*/ 97694 h 5143408"/>
                <a:gd name="csX18" fmla="*/ 2865982 w 7129354"/>
                <a:gd name="csY18" fmla="*/ 70695 h 5143408"/>
                <a:gd name="csX19" fmla="*/ 3065981 w 7129354"/>
                <a:gd name="csY19" fmla="*/ 45261 h 5143408"/>
                <a:gd name="csX20" fmla="*/ 3266994 w 7129354"/>
                <a:gd name="csY20" fmla="*/ 72665 h 5143408"/>
                <a:gd name="csX21" fmla="*/ 3354804 w 7129354"/>
                <a:gd name="csY21" fmla="*/ 105392 h 5143408"/>
                <a:gd name="csX22" fmla="*/ 3410743 w 7129354"/>
                <a:gd name="csY22" fmla="*/ 137475 h 5143408"/>
                <a:gd name="csX23" fmla="*/ 3447358 w 7129354"/>
                <a:gd name="csY23" fmla="*/ 111717 h 5143408"/>
                <a:gd name="csX24" fmla="*/ 3647700 w 7129354"/>
                <a:gd name="csY24" fmla="*/ 57694 h 5143408"/>
                <a:gd name="csX25" fmla="*/ 3921510 w 7129354"/>
                <a:gd name="csY25" fmla="*/ 57913 h 5143408"/>
                <a:gd name="csX26" fmla="*/ 4092826 w 7129354"/>
                <a:gd name="csY26" fmla="*/ 85034 h 5143408"/>
                <a:gd name="csX27" fmla="*/ 4110526 w 7129354"/>
                <a:gd name="csY27" fmla="*/ 90869 h 5143408"/>
                <a:gd name="csX28" fmla="*/ 4128356 w 7129354"/>
                <a:gd name="csY28" fmla="*/ 82449 h 5143408"/>
                <a:gd name="csX29" fmla="*/ 4266540 w 7129354"/>
                <a:gd name="csY29" fmla="*/ 57738 h 5143408"/>
                <a:gd name="csX30" fmla="*/ 4676707 w 7129354"/>
                <a:gd name="csY30" fmla="*/ 57738 h 5143408"/>
                <a:gd name="csX31" fmla="*/ 4981289 w 7129354"/>
                <a:gd name="csY31" fmla="*/ 199348 h 5143408"/>
                <a:gd name="csX32" fmla="*/ 5069320 w 7129354"/>
                <a:gd name="csY32" fmla="*/ 523542 h 5143408"/>
                <a:gd name="csX33" fmla="*/ 5049053 w 7129354"/>
                <a:gd name="csY33" fmla="*/ 641558 h 5143408"/>
                <a:gd name="csX34" fmla="*/ 4957826 w 7129354"/>
                <a:gd name="csY34" fmla="*/ 834604 h 5143408"/>
                <a:gd name="csX35" fmla="*/ 4954981 w 7129354"/>
                <a:gd name="csY35" fmla="*/ 928632 h 5143408"/>
                <a:gd name="csX36" fmla="*/ 4936859 w 7129354"/>
                <a:gd name="csY36" fmla="*/ 1049449 h 5143408"/>
                <a:gd name="csX37" fmla="*/ 4903940 w 7129354"/>
                <a:gd name="csY37" fmla="*/ 1158837 h 5143408"/>
                <a:gd name="csX38" fmla="*/ 4929149 w 7129354"/>
                <a:gd name="csY38" fmla="*/ 1265324 h 5143408"/>
                <a:gd name="csX39" fmla="*/ 4928290 w 7129354"/>
                <a:gd name="csY39" fmla="*/ 1284700 h 5143408"/>
                <a:gd name="csX40" fmla="*/ 4931164 w 7129354"/>
                <a:gd name="csY40" fmla="*/ 1283341 h 5143408"/>
                <a:gd name="csX41" fmla="*/ 5069276 w 7129354"/>
                <a:gd name="csY41" fmla="*/ 1258555 h 5143408"/>
                <a:gd name="csX42" fmla="*/ 5202132 w 7129354"/>
                <a:gd name="csY42" fmla="*/ 1258467 h 5143408"/>
                <a:gd name="csX43" fmla="*/ 5320497 w 7129354"/>
                <a:gd name="csY43" fmla="*/ 1276415 h 5143408"/>
                <a:gd name="csX44" fmla="*/ 5440396 w 7129354"/>
                <a:gd name="csY44" fmla="*/ 1257986 h 5143408"/>
                <a:gd name="csX45" fmla="*/ 5568436 w 7129354"/>
                <a:gd name="csY45" fmla="*/ 1258905 h 5143408"/>
                <a:gd name="csX46" fmla="*/ 5654681 w 7129354"/>
                <a:gd name="csY46" fmla="*/ 1268980 h 5143408"/>
                <a:gd name="csX47" fmla="*/ 5700458 w 7129354"/>
                <a:gd name="csY47" fmla="*/ 1284844 h 5143408"/>
                <a:gd name="csX48" fmla="*/ 5771697 w 7129354"/>
                <a:gd name="csY48" fmla="*/ 1263737 h 5143408"/>
                <a:gd name="csX49" fmla="*/ 5942664 w 7129354"/>
                <a:gd name="csY49" fmla="*/ 1245686 h 5143408"/>
                <a:gd name="csX50" fmla="*/ 6158141 w 7129354"/>
                <a:gd name="csY50" fmla="*/ 1276268 h 5143408"/>
                <a:gd name="csX51" fmla="*/ 6178087 w 7129354"/>
                <a:gd name="csY51" fmla="*/ 1283922 h 5143408"/>
                <a:gd name="csX52" fmla="*/ 6180610 w 7129354"/>
                <a:gd name="csY52" fmla="*/ 1282731 h 5143408"/>
                <a:gd name="csX53" fmla="*/ 6318818 w 7129354"/>
                <a:gd name="csY53" fmla="*/ 1258030 h 5143408"/>
                <a:gd name="csX54" fmla="*/ 6730999 w 7129354"/>
                <a:gd name="csY54" fmla="*/ 1257986 h 5143408"/>
                <a:gd name="csX55" fmla="*/ 7036063 w 7129354"/>
                <a:gd name="csY55" fmla="*/ 1400165 h 5143408"/>
                <a:gd name="csX56" fmla="*/ 7123349 w 7129354"/>
                <a:gd name="csY56" fmla="*/ 1725278 h 5143408"/>
                <a:gd name="csX57" fmla="*/ 7102863 w 7129354"/>
                <a:gd name="csY57" fmla="*/ 1841806 h 5143408"/>
                <a:gd name="csX58" fmla="*/ 7010105 w 7129354"/>
                <a:gd name="csY58" fmla="*/ 2035421 h 5143408"/>
                <a:gd name="csX59" fmla="*/ 7007435 w 7129354"/>
                <a:gd name="csY59" fmla="*/ 2127828 h 5143408"/>
                <a:gd name="csX60" fmla="*/ 6989881 w 7129354"/>
                <a:gd name="csY60" fmla="*/ 2248121 h 5143408"/>
                <a:gd name="csX61" fmla="*/ 6956962 w 7129354"/>
                <a:gd name="csY61" fmla="*/ 2358564 h 5143408"/>
                <a:gd name="csX62" fmla="*/ 6977712 w 7129354"/>
                <a:gd name="csY62" fmla="*/ 2576385 h 5143408"/>
                <a:gd name="csX63" fmla="*/ 6955649 w 7129354"/>
                <a:gd name="csY63" fmla="*/ 2695408 h 5143408"/>
                <a:gd name="csX64" fmla="*/ 6914143 w 7129354"/>
                <a:gd name="csY64" fmla="*/ 2806103 h 5143408"/>
                <a:gd name="csX65" fmla="*/ 6941109 w 7129354"/>
                <a:gd name="csY65" fmla="*/ 2855466 h 5143408"/>
                <a:gd name="csX66" fmla="*/ 6969438 w 7129354"/>
                <a:gd name="csY66" fmla="*/ 2969174 h 5143408"/>
                <a:gd name="csX67" fmla="*/ 6952278 w 7129354"/>
                <a:gd name="csY67" fmla="*/ 3191110 h 5143408"/>
                <a:gd name="csX68" fmla="*/ 6951491 w 7129354"/>
                <a:gd name="csY68" fmla="*/ 3248893 h 5143408"/>
                <a:gd name="csX69" fmla="*/ 6920542 w 7129354"/>
                <a:gd name="csY69" fmla="*/ 3426967 h 5143408"/>
                <a:gd name="csX70" fmla="*/ 6880543 w 7129354"/>
                <a:gd name="csY70" fmla="*/ 3525772 h 5143408"/>
                <a:gd name="csX71" fmla="*/ 6854251 w 7129354"/>
                <a:gd name="csY71" fmla="*/ 3563255 h 5143408"/>
                <a:gd name="csX72" fmla="*/ 6873862 w 7129354"/>
                <a:gd name="csY72" fmla="*/ 3639800 h 5143408"/>
                <a:gd name="csX73" fmla="*/ 6879438 w 7129354"/>
                <a:gd name="csY73" fmla="*/ 3753700 h 5143408"/>
                <a:gd name="csX74" fmla="*/ 6859608 w 7129354"/>
                <a:gd name="csY74" fmla="*/ 3895836 h 5143408"/>
                <a:gd name="csX75" fmla="*/ 6856194 w 7129354"/>
                <a:gd name="csY75" fmla="*/ 3913346 h 5143408"/>
                <a:gd name="csX76" fmla="*/ 6843806 w 7129354"/>
                <a:gd name="csY76" fmla="*/ 3975987 h 5143408"/>
                <a:gd name="csX77" fmla="*/ 6775648 w 7129354"/>
                <a:gd name="csY77" fmla="*/ 4213989 h 5143408"/>
                <a:gd name="csX78" fmla="*/ 6389120 w 7129354"/>
                <a:gd name="csY78" fmla="*/ 4455974 h 5143408"/>
                <a:gd name="csX79" fmla="*/ 6315404 w 7129354"/>
                <a:gd name="csY79" fmla="*/ 4458250 h 5143408"/>
                <a:gd name="csX80" fmla="*/ 6315491 w 7129354"/>
                <a:gd name="csY80" fmla="*/ 4458163 h 5143408"/>
                <a:gd name="csX81" fmla="*/ 6246853 w 7129354"/>
                <a:gd name="csY81" fmla="*/ 4456587 h 5143408"/>
                <a:gd name="csX82" fmla="*/ 6174453 w 7129354"/>
                <a:gd name="csY82" fmla="*/ 4445736 h 5143408"/>
                <a:gd name="csX83" fmla="*/ 6170089 w 7129354"/>
                <a:gd name="csY83" fmla="*/ 4446903 h 5143408"/>
                <a:gd name="csX84" fmla="*/ 6094036 w 7129354"/>
                <a:gd name="csY84" fmla="*/ 4453523 h 5143408"/>
                <a:gd name="csX85" fmla="*/ 6090745 w 7129354"/>
                <a:gd name="csY85" fmla="*/ 4453432 h 5143408"/>
                <a:gd name="csX86" fmla="*/ 6089494 w 7129354"/>
                <a:gd name="csY86" fmla="*/ 4487463 h 5143408"/>
                <a:gd name="csX87" fmla="*/ 6074470 w 7129354"/>
                <a:gd name="csY87" fmla="*/ 4576923 h 5143408"/>
                <a:gd name="csX88" fmla="*/ 6070836 w 7129354"/>
                <a:gd name="csY88" fmla="*/ 4595746 h 5143408"/>
                <a:gd name="csX89" fmla="*/ 6058492 w 7129354"/>
                <a:gd name="csY89" fmla="*/ 4656811 h 5143408"/>
                <a:gd name="csX90" fmla="*/ 5942052 w 7129354"/>
                <a:gd name="csY90" fmla="*/ 4966384 h 5143408"/>
                <a:gd name="csX91" fmla="*/ 5583057 w 7129354"/>
                <a:gd name="csY91" fmla="*/ 5137630 h 5143408"/>
                <a:gd name="csX92" fmla="*/ 5581087 w 7129354"/>
                <a:gd name="csY92" fmla="*/ 5137630 h 5143408"/>
                <a:gd name="csX93" fmla="*/ 5558325 w 7129354"/>
                <a:gd name="csY93" fmla="*/ 5138155 h 5143408"/>
                <a:gd name="csX94" fmla="*/ 5511880 w 7129354"/>
                <a:gd name="csY94" fmla="*/ 5139031 h 5143408"/>
                <a:gd name="csX95" fmla="*/ 5410323 w 7129354"/>
                <a:gd name="csY95" fmla="*/ 5132377 h 5143408"/>
                <a:gd name="csX96" fmla="*/ 5380608 w 7129354"/>
                <a:gd name="csY96" fmla="*/ 5125145 h 5143408"/>
                <a:gd name="csX97" fmla="*/ 5312399 w 7129354"/>
                <a:gd name="csY97" fmla="*/ 5136229 h 5143408"/>
                <a:gd name="csX98" fmla="*/ 5229840 w 7129354"/>
                <a:gd name="csY98" fmla="*/ 5138899 h 5143408"/>
                <a:gd name="csX99" fmla="*/ 5145443 w 7129354"/>
                <a:gd name="csY99" fmla="*/ 5135791 h 5143408"/>
                <a:gd name="csX100" fmla="*/ 5106458 w 7129354"/>
                <a:gd name="csY100" fmla="*/ 5128675 h 5143408"/>
                <a:gd name="csX101" fmla="*/ 5073150 w 7129354"/>
                <a:gd name="csY101" fmla="*/ 5135283 h 5143408"/>
                <a:gd name="csX102" fmla="*/ 5014952 w 7129354"/>
                <a:gd name="csY102" fmla="*/ 5139074 h 5143408"/>
                <a:gd name="csX103" fmla="*/ 5014996 w 7129354"/>
                <a:gd name="csY103" fmla="*/ 5139118 h 5143408"/>
                <a:gd name="csX104" fmla="*/ 4917904 w 7129354"/>
                <a:gd name="csY104" fmla="*/ 5128350 h 5143408"/>
                <a:gd name="csX105" fmla="*/ 4913220 w 7129354"/>
                <a:gd name="csY105" fmla="*/ 5129400 h 5143408"/>
                <a:gd name="csX106" fmla="*/ 4822738 w 7129354"/>
                <a:gd name="csY106" fmla="*/ 5138855 h 5143408"/>
                <a:gd name="csX107" fmla="*/ 4759037 w 7129354"/>
                <a:gd name="csY107" fmla="*/ 5132192 h 5143408"/>
                <a:gd name="csX108" fmla="*/ 4733788 w 7129354"/>
                <a:gd name="csY108" fmla="*/ 5137499 h 5143408"/>
                <a:gd name="csX109" fmla="*/ 4697631 w 7129354"/>
                <a:gd name="csY109" fmla="*/ 5138987 h 5143408"/>
                <a:gd name="csX110" fmla="*/ 4697631 w 7129354"/>
                <a:gd name="csY110" fmla="*/ 5139031 h 5143408"/>
                <a:gd name="csX111" fmla="*/ 4653550 w 7129354"/>
                <a:gd name="csY111" fmla="*/ 5136798 h 5143408"/>
                <a:gd name="csX112" fmla="*/ 4650967 w 7129354"/>
                <a:gd name="csY112" fmla="*/ 5136930 h 5143408"/>
                <a:gd name="csX113" fmla="*/ 4579089 w 7129354"/>
                <a:gd name="csY113" fmla="*/ 5138768 h 5143408"/>
                <a:gd name="csX114" fmla="*/ 4510495 w 7129354"/>
                <a:gd name="csY114" fmla="*/ 5136536 h 5143408"/>
                <a:gd name="csX115" fmla="*/ 4474702 w 7129354"/>
                <a:gd name="csY115" fmla="*/ 5130507 h 5143408"/>
                <a:gd name="csX116" fmla="*/ 4466615 w 7129354"/>
                <a:gd name="csY116" fmla="*/ 5132683 h 5143408"/>
                <a:gd name="csX117" fmla="*/ 4390640 w 7129354"/>
                <a:gd name="csY117" fmla="*/ 5139338 h 5143408"/>
                <a:gd name="csX118" fmla="*/ 4390640 w 7129354"/>
                <a:gd name="csY118" fmla="*/ 5139381 h 5143408"/>
                <a:gd name="csX119" fmla="*/ 4292585 w 7129354"/>
                <a:gd name="csY119" fmla="*/ 5128481 h 5143408"/>
                <a:gd name="csX120" fmla="*/ 4195844 w 7129354"/>
                <a:gd name="csY120" fmla="*/ 5139075 h 5143408"/>
                <a:gd name="csX121" fmla="*/ 4103568 w 7129354"/>
                <a:gd name="csY121" fmla="*/ 5129404 h 5143408"/>
                <a:gd name="csX122" fmla="*/ 4097519 w 7129354"/>
                <a:gd name="csY122" fmla="*/ 5127430 h 5143408"/>
                <a:gd name="csX123" fmla="*/ 4078618 w 7129354"/>
                <a:gd name="csY123" fmla="*/ 5132448 h 5143408"/>
                <a:gd name="csX124" fmla="*/ 4002142 w 7129354"/>
                <a:gd name="csY124" fmla="*/ 5139074 h 5143408"/>
                <a:gd name="csX125" fmla="*/ 4002142 w 7129354"/>
                <a:gd name="csY125" fmla="*/ 5138987 h 5143408"/>
                <a:gd name="csX126" fmla="*/ 3914220 w 7129354"/>
                <a:gd name="csY126" fmla="*/ 5129783 h 5143408"/>
                <a:gd name="csX127" fmla="*/ 3849763 w 7129354"/>
                <a:gd name="csY127" fmla="*/ 5137498 h 5143408"/>
                <a:gd name="csX128" fmla="*/ 3834223 w 7129354"/>
                <a:gd name="csY128" fmla="*/ 5137848 h 5143408"/>
                <a:gd name="csX129" fmla="*/ 3776747 w 7129354"/>
                <a:gd name="csY129" fmla="*/ 5138768 h 5143408"/>
                <a:gd name="csX130" fmla="*/ 3776835 w 7129354"/>
                <a:gd name="csY130" fmla="*/ 5138812 h 5143408"/>
                <a:gd name="csX131" fmla="*/ 3698479 w 7129354"/>
                <a:gd name="csY131" fmla="*/ 5136054 h 5143408"/>
                <a:gd name="csX132" fmla="*/ 3665410 w 7129354"/>
                <a:gd name="csY132" fmla="*/ 5130034 h 5143408"/>
                <a:gd name="csX133" fmla="*/ 3578775 w 7129354"/>
                <a:gd name="csY133" fmla="*/ 5139247 h 5143408"/>
                <a:gd name="csX134" fmla="*/ 3495124 w 7129354"/>
                <a:gd name="csY134" fmla="*/ 5132169 h 5143408"/>
                <a:gd name="csX135" fmla="*/ 3469482 w 7129354"/>
                <a:gd name="csY135" fmla="*/ 5126747 h 5143408"/>
                <a:gd name="csX136" fmla="*/ 3447001 w 7129354"/>
                <a:gd name="csY136" fmla="*/ 5132830 h 5143408"/>
                <a:gd name="csX137" fmla="*/ 3370652 w 7129354"/>
                <a:gd name="csY137" fmla="*/ 5139556 h 5143408"/>
                <a:gd name="csX138" fmla="*/ 3370696 w 7129354"/>
                <a:gd name="csY138" fmla="*/ 5139512 h 5143408"/>
                <a:gd name="csX139" fmla="*/ 3304181 w 7129354"/>
                <a:gd name="csY139" fmla="*/ 5131323 h 5143408"/>
                <a:gd name="csX140" fmla="*/ 3272377 w 7129354"/>
                <a:gd name="csY140" fmla="*/ 5137805 h 5143408"/>
                <a:gd name="csX141" fmla="*/ 3240904 w 7129354"/>
                <a:gd name="csY141" fmla="*/ 5138943 h 5143408"/>
                <a:gd name="csX142" fmla="*/ 3199405 w 7129354"/>
                <a:gd name="csY142" fmla="*/ 5136930 h 5143408"/>
                <a:gd name="csX143" fmla="*/ 3141229 w 7129354"/>
                <a:gd name="csY143" fmla="*/ 5139687 h 5143408"/>
                <a:gd name="csX144" fmla="*/ 3141142 w 7129354"/>
                <a:gd name="csY144" fmla="*/ 5139731 h 5143408"/>
                <a:gd name="csX145" fmla="*/ 3091151 w 7129354"/>
                <a:gd name="csY145" fmla="*/ 5138418 h 5143408"/>
                <a:gd name="csX146" fmla="*/ 3074167 w 7129354"/>
                <a:gd name="csY146" fmla="*/ 5137761 h 5143408"/>
                <a:gd name="csX147" fmla="*/ 2975426 w 7129354"/>
                <a:gd name="csY147" fmla="*/ 5124350 h 5143408"/>
                <a:gd name="csX148" fmla="*/ 2950676 w 7129354"/>
                <a:gd name="csY148" fmla="*/ 5115248 h 5143408"/>
                <a:gd name="csX149" fmla="*/ 2944059 w 7129354"/>
                <a:gd name="csY149" fmla="*/ 5118395 h 5143408"/>
                <a:gd name="csX150" fmla="*/ 2805699 w 7129354"/>
                <a:gd name="csY150" fmla="*/ 5143364 h 5143408"/>
                <a:gd name="csX151" fmla="*/ 2805742 w 7129354"/>
                <a:gd name="csY151" fmla="*/ 5143408 h 5143408"/>
                <a:gd name="csX152" fmla="*/ 2743407 w 7129354"/>
                <a:gd name="csY152" fmla="*/ 5138505 h 5143408"/>
                <a:gd name="csX153" fmla="*/ 2693635 w 7129354"/>
                <a:gd name="csY153" fmla="*/ 5130670 h 5143408"/>
                <a:gd name="csX154" fmla="*/ 2433483 w 7129354"/>
                <a:gd name="csY154" fmla="*/ 4971681 h 5143408"/>
                <a:gd name="csX155" fmla="*/ 2361956 w 7129354"/>
                <a:gd name="csY155" fmla="*/ 4675284 h 5143408"/>
                <a:gd name="csX156" fmla="*/ 2431042 w 7129354"/>
                <a:gd name="csY156" fmla="*/ 4235785 h 5143408"/>
                <a:gd name="csX157" fmla="*/ 2413565 w 7129354"/>
                <a:gd name="csY157" fmla="*/ 4209070 h 5143408"/>
                <a:gd name="csX158" fmla="*/ 2408919 w 7129354"/>
                <a:gd name="csY158" fmla="*/ 4196980 h 5143408"/>
                <a:gd name="csX159" fmla="*/ 2351674 w 7129354"/>
                <a:gd name="csY159" fmla="*/ 4209961 h 5143408"/>
                <a:gd name="csX160" fmla="*/ 2219387 w 7129354"/>
                <a:gd name="csY160" fmla="*/ 4220117 h 5143408"/>
                <a:gd name="csX161" fmla="*/ 2219387 w 7129354"/>
                <a:gd name="csY161" fmla="*/ 4220029 h 5143408"/>
                <a:gd name="csX162" fmla="*/ 2117782 w 7129354"/>
                <a:gd name="csY162" fmla="*/ 4213170 h 5143408"/>
                <a:gd name="csX163" fmla="*/ 2038944 w 7129354"/>
                <a:gd name="csY163" fmla="*/ 4196344 h 5143408"/>
                <a:gd name="csX164" fmla="*/ 2031411 w 7129354"/>
                <a:gd name="csY164" fmla="*/ 4199650 h 5143408"/>
                <a:gd name="csX165" fmla="*/ 1901541 w 7129354"/>
                <a:gd name="csY165" fmla="*/ 4221387 h 5143408"/>
                <a:gd name="csX166" fmla="*/ 1489229 w 7129354"/>
                <a:gd name="csY166" fmla="*/ 4221387 h 5143408"/>
                <a:gd name="csX167" fmla="*/ 1489229 w 7129354"/>
                <a:gd name="csY167" fmla="*/ 4221431 h 5143408"/>
                <a:gd name="csX168" fmla="*/ 1402702 w 7129354"/>
                <a:gd name="csY168" fmla="*/ 4211922 h 5143408"/>
                <a:gd name="csX169" fmla="*/ 1372815 w 7129354"/>
                <a:gd name="csY169" fmla="*/ 4201777 h 5143408"/>
                <a:gd name="csX170" fmla="*/ 1301787 w 7129354"/>
                <a:gd name="csY170" fmla="*/ 4219066 h 5143408"/>
                <a:gd name="csX171" fmla="*/ 1163854 w 7129354"/>
                <a:gd name="csY171" fmla="*/ 4230973 h 5143408"/>
                <a:gd name="csX172" fmla="*/ 1163898 w 7129354"/>
                <a:gd name="csY172" fmla="*/ 4231017 h 5143408"/>
                <a:gd name="csX173" fmla="*/ 1016597 w 7129354"/>
                <a:gd name="csY173" fmla="*/ 4216396 h 5143408"/>
                <a:gd name="csX174" fmla="*/ 963285 w 7129354"/>
                <a:gd name="csY174" fmla="*/ 4200694 h 5143408"/>
                <a:gd name="csX175" fmla="*/ 957845 w 7129354"/>
                <a:gd name="csY175" fmla="*/ 4202901 h 5143408"/>
                <a:gd name="csX176" fmla="*/ 836596 w 7129354"/>
                <a:gd name="csY176" fmla="*/ 4221781 h 5143408"/>
                <a:gd name="csX177" fmla="*/ 424372 w 7129354"/>
                <a:gd name="csY177" fmla="*/ 4221387 h 5143408"/>
                <a:gd name="csX178" fmla="*/ 424416 w 7129354"/>
                <a:gd name="csY178" fmla="*/ 4221299 h 5143408"/>
                <a:gd name="csX179" fmla="*/ 119702 w 7129354"/>
                <a:gd name="csY179" fmla="*/ 4079076 h 5143408"/>
                <a:gd name="csX180" fmla="*/ 32417 w 7129354"/>
                <a:gd name="csY180" fmla="*/ 3754357 h 5143408"/>
                <a:gd name="csX181" fmla="*/ 69011 w 7129354"/>
                <a:gd name="csY181" fmla="*/ 3544940 h 5143408"/>
                <a:gd name="csX182" fmla="*/ 163302 w 7129354"/>
                <a:gd name="csY182" fmla="*/ 3308645 h 5143408"/>
                <a:gd name="csX183" fmla="*/ 148987 w 7129354"/>
                <a:gd name="csY183" fmla="*/ 3114899 h 5143408"/>
                <a:gd name="csX184" fmla="*/ 154590 w 7129354"/>
                <a:gd name="csY184" fmla="*/ 3077166 h 5143408"/>
                <a:gd name="csX185" fmla="*/ 171444 w 7129354"/>
                <a:gd name="csY185" fmla="*/ 2973908 h 5143408"/>
                <a:gd name="csX186" fmla="*/ 188813 w 7129354"/>
                <a:gd name="csY186" fmla="*/ 2911351 h 5143408"/>
                <a:gd name="csX187" fmla="*/ 153625 w 7129354"/>
                <a:gd name="csY187" fmla="*/ 2877597 h 5143408"/>
                <a:gd name="csX188" fmla="*/ 66864 w 7129354"/>
                <a:gd name="csY188" fmla="*/ 2552878 h 5143408"/>
                <a:gd name="csX189" fmla="*/ 231397 w 7129354"/>
                <a:gd name="csY189" fmla="*/ 1619380 h 5143408"/>
                <a:gd name="csX190" fmla="*/ 200905 w 7129354"/>
                <a:gd name="csY190" fmla="*/ 1587433 h 5143408"/>
                <a:gd name="csX191" fmla="*/ 79956 w 7129354"/>
                <a:gd name="csY191" fmla="*/ 1426518 h 5143408"/>
                <a:gd name="csX192" fmla="*/ 95933 w 7129354"/>
                <a:gd name="csY192" fmla="*/ 927887 h 5143408"/>
                <a:gd name="csX193" fmla="*/ 772205 w 7129354"/>
                <a:gd name="csY193" fmla="*/ 139071 h 5143408"/>
                <a:gd name="csX194" fmla="*/ 1074598 w 7129354"/>
                <a:gd name="csY194" fmla="*/ 0 h 514340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</a:cxnLst>
              <a:rect l="l" t="t" r="r" b="b"/>
              <a:pathLst>
                <a:path w="7129354" h="5143408">
                  <a:moveTo>
                    <a:pt x="3578775" y="5139247"/>
                  </a:moveTo>
                  <a:lnTo>
                    <a:pt x="3578799" y="5139249"/>
                  </a:lnTo>
                  <a:lnTo>
                    <a:pt x="3578755" y="5139249"/>
                  </a:lnTo>
                  <a:close/>
                  <a:moveTo>
                    <a:pt x="1074598" y="0"/>
                  </a:moveTo>
                  <a:cubicBezTo>
                    <a:pt x="1077882" y="0"/>
                    <a:pt x="1081165" y="0"/>
                    <a:pt x="1084447" y="131"/>
                  </a:cubicBezTo>
                  <a:cubicBezTo>
                    <a:pt x="1144287" y="1597"/>
                    <a:pt x="1202200" y="16491"/>
                    <a:pt x="1254325" y="42844"/>
                  </a:cubicBezTo>
                  <a:lnTo>
                    <a:pt x="1281628" y="60661"/>
                  </a:lnTo>
                  <a:lnTo>
                    <a:pt x="1313869" y="57782"/>
                  </a:lnTo>
                  <a:lnTo>
                    <a:pt x="1781816" y="57782"/>
                  </a:lnTo>
                  <a:lnTo>
                    <a:pt x="1834951" y="63397"/>
                  </a:lnTo>
                  <a:lnTo>
                    <a:pt x="1871336" y="58526"/>
                  </a:lnTo>
                  <a:cubicBezTo>
                    <a:pt x="1871598" y="58526"/>
                    <a:pt x="2007212" y="58789"/>
                    <a:pt x="2007212" y="58789"/>
                  </a:cubicBezTo>
                  <a:cubicBezTo>
                    <a:pt x="2080755" y="58920"/>
                    <a:pt x="2151931" y="79407"/>
                    <a:pt x="2213391" y="116790"/>
                  </a:cubicBezTo>
                  <a:cubicBezTo>
                    <a:pt x="2274719" y="79188"/>
                    <a:pt x="2346376" y="58001"/>
                    <a:pt x="2421627" y="58001"/>
                  </a:cubicBezTo>
                  <a:cubicBezTo>
                    <a:pt x="2421627" y="58001"/>
                    <a:pt x="2586394" y="58001"/>
                    <a:pt x="2586394" y="58001"/>
                  </a:cubicBezTo>
                  <a:cubicBezTo>
                    <a:pt x="2640293" y="58001"/>
                    <a:pt x="2691743" y="68723"/>
                    <a:pt x="2738699" y="88173"/>
                  </a:cubicBezTo>
                  <a:lnTo>
                    <a:pt x="2769748" y="104659"/>
                  </a:lnTo>
                  <a:lnTo>
                    <a:pt x="2783906" y="97694"/>
                  </a:lnTo>
                  <a:cubicBezTo>
                    <a:pt x="2810318" y="86908"/>
                    <a:pt x="2837721" y="77863"/>
                    <a:pt x="2865982" y="70695"/>
                  </a:cubicBezTo>
                  <a:cubicBezTo>
                    <a:pt x="2932425" y="53841"/>
                    <a:pt x="2999750" y="45261"/>
                    <a:pt x="3065981" y="45261"/>
                  </a:cubicBezTo>
                  <a:cubicBezTo>
                    <a:pt x="3132212" y="45261"/>
                    <a:pt x="3202339" y="54497"/>
                    <a:pt x="3266994" y="72665"/>
                  </a:cubicBezTo>
                  <a:cubicBezTo>
                    <a:pt x="3297253" y="81178"/>
                    <a:pt x="3326626" y="92158"/>
                    <a:pt x="3354804" y="105392"/>
                  </a:cubicBezTo>
                  <a:lnTo>
                    <a:pt x="3410743" y="137475"/>
                  </a:lnTo>
                  <a:lnTo>
                    <a:pt x="3447358" y="111717"/>
                  </a:lnTo>
                  <a:cubicBezTo>
                    <a:pt x="3506548" y="77239"/>
                    <a:pt x="3575161" y="57694"/>
                    <a:pt x="3647700" y="57694"/>
                  </a:cubicBezTo>
                  <a:cubicBezTo>
                    <a:pt x="3647832" y="57694"/>
                    <a:pt x="3921510" y="57913"/>
                    <a:pt x="3921510" y="57913"/>
                  </a:cubicBezTo>
                  <a:cubicBezTo>
                    <a:pt x="3992097" y="57978"/>
                    <a:pt x="4051085" y="72202"/>
                    <a:pt x="4092826" y="85034"/>
                  </a:cubicBezTo>
                  <a:lnTo>
                    <a:pt x="4110526" y="90869"/>
                  </a:lnTo>
                  <a:lnTo>
                    <a:pt x="4128356" y="82449"/>
                  </a:lnTo>
                  <a:cubicBezTo>
                    <a:pt x="4171588" y="66441"/>
                    <a:pt x="4218191" y="57749"/>
                    <a:pt x="4266540" y="57738"/>
                  </a:cubicBezTo>
                  <a:cubicBezTo>
                    <a:pt x="4266540" y="57738"/>
                    <a:pt x="4676707" y="57738"/>
                    <a:pt x="4676707" y="57738"/>
                  </a:cubicBezTo>
                  <a:cubicBezTo>
                    <a:pt x="4794153" y="57738"/>
                    <a:pt x="4905604" y="109567"/>
                    <a:pt x="4981289" y="199348"/>
                  </a:cubicBezTo>
                  <a:cubicBezTo>
                    <a:pt x="5056975" y="289174"/>
                    <a:pt x="5089193" y="407802"/>
                    <a:pt x="5069320" y="523542"/>
                  </a:cubicBezTo>
                  <a:lnTo>
                    <a:pt x="5049053" y="641558"/>
                  </a:lnTo>
                  <a:cubicBezTo>
                    <a:pt x="5036402" y="715231"/>
                    <a:pt x="5004008" y="781286"/>
                    <a:pt x="4957826" y="834604"/>
                  </a:cubicBezTo>
                  <a:cubicBezTo>
                    <a:pt x="4960584" y="865683"/>
                    <a:pt x="4959665" y="897245"/>
                    <a:pt x="4954981" y="928632"/>
                  </a:cubicBezTo>
                  <a:lnTo>
                    <a:pt x="4936859" y="1049449"/>
                  </a:lnTo>
                  <a:cubicBezTo>
                    <a:pt x="4931036" y="1088145"/>
                    <a:pt x="4919786" y="1124868"/>
                    <a:pt x="4903940" y="1158837"/>
                  </a:cubicBezTo>
                  <a:cubicBezTo>
                    <a:pt x="4917182" y="1192981"/>
                    <a:pt x="4925674" y="1228821"/>
                    <a:pt x="4929149" y="1265324"/>
                  </a:cubicBezTo>
                  <a:lnTo>
                    <a:pt x="4928290" y="1284700"/>
                  </a:lnTo>
                  <a:lnTo>
                    <a:pt x="4931164" y="1283341"/>
                  </a:lnTo>
                  <a:cubicBezTo>
                    <a:pt x="4974370" y="1267316"/>
                    <a:pt x="5020949" y="1258599"/>
                    <a:pt x="5069276" y="1258555"/>
                  </a:cubicBezTo>
                  <a:cubicBezTo>
                    <a:pt x="5069276" y="1258555"/>
                    <a:pt x="5202044" y="1258467"/>
                    <a:pt x="5202132" y="1258467"/>
                  </a:cubicBezTo>
                  <a:cubicBezTo>
                    <a:pt x="5243148" y="1258467"/>
                    <a:pt x="5282939" y="1264727"/>
                    <a:pt x="5320497" y="1276415"/>
                  </a:cubicBezTo>
                  <a:cubicBezTo>
                    <a:pt x="5358494" y="1264421"/>
                    <a:pt x="5398810" y="1257986"/>
                    <a:pt x="5440396" y="1257986"/>
                  </a:cubicBezTo>
                  <a:cubicBezTo>
                    <a:pt x="5441359" y="1257986"/>
                    <a:pt x="5568436" y="1258905"/>
                    <a:pt x="5568436" y="1258905"/>
                  </a:cubicBezTo>
                  <a:cubicBezTo>
                    <a:pt x="5597732" y="1259113"/>
                    <a:pt x="5626634" y="1262544"/>
                    <a:pt x="5654681" y="1268980"/>
                  </a:cubicBezTo>
                  <a:lnTo>
                    <a:pt x="5700458" y="1284844"/>
                  </a:lnTo>
                  <a:lnTo>
                    <a:pt x="5771697" y="1263737"/>
                  </a:lnTo>
                  <a:cubicBezTo>
                    <a:pt x="5839969" y="1249057"/>
                    <a:pt x="5901013" y="1245686"/>
                    <a:pt x="5942664" y="1245686"/>
                  </a:cubicBezTo>
                  <a:cubicBezTo>
                    <a:pt x="5999495" y="1245686"/>
                    <a:pt x="6077254" y="1251719"/>
                    <a:pt x="6158141" y="1276268"/>
                  </a:cubicBezTo>
                  <a:lnTo>
                    <a:pt x="6178087" y="1283922"/>
                  </a:lnTo>
                  <a:lnTo>
                    <a:pt x="6180610" y="1282731"/>
                  </a:lnTo>
                  <a:cubicBezTo>
                    <a:pt x="6223847" y="1266719"/>
                    <a:pt x="6270459" y="1258030"/>
                    <a:pt x="6318818" y="1258030"/>
                  </a:cubicBezTo>
                  <a:cubicBezTo>
                    <a:pt x="6318818" y="1258030"/>
                    <a:pt x="6730999" y="1257986"/>
                    <a:pt x="6730999" y="1257986"/>
                  </a:cubicBezTo>
                  <a:cubicBezTo>
                    <a:pt x="6848708" y="1257986"/>
                    <a:pt x="6960377" y="1310034"/>
                    <a:pt x="7036063" y="1400165"/>
                  </a:cubicBezTo>
                  <a:cubicBezTo>
                    <a:pt x="7111749" y="1490297"/>
                    <a:pt x="7143704" y="1609320"/>
                    <a:pt x="7123349" y="1725278"/>
                  </a:cubicBezTo>
                  <a:lnTo>
                    <a:pt x="7102863" y="1841806"/>
                  </a:lnTo>
                  <a:cubicBezTo>
                    <a:pt x="7089862" y="1915829"/>
                    <a:pt x="7056899" y="1982103"/>
                    <a:pt x="7010105" y="2035421"/>
                  </a:cubicBezTo>
                  <a:cubicBezTo>
                    <a:pt x="7012775" y="2065931"/>
                    <a:pt x="7011943" y="2096968"/>
                    <a:pt x="7007435" y="2127828"/>
                  </a:cubicBezTo>
                  <a:lnTo>
                    <a:pt x="6989881" y="2248121"/>
                  </a:lnTo>
                  <a:cubicBezTo>
                    <a:pt x="6984190" y="2287211"/>
                    <a:pt x="6972896" y="2324288"/>
                    <a:pt x="6956962" y="2358564"/>
                  </a:cubicBezTo>
                  <a:cubicBezTo>
                    <a:pt x="6983752" y="2427071"/>
                    <a:pt x="6991413" y="2502450"/>
                    <a:pt x="6977712" y="2576385"/>
                  </a:cubicBezTo>
                  <a:lnTo>
                    <a:pt x="6955649" y="2695408"/>
                  </a:lnTo>
                  <a:lnTo>
                    <a:pt x="6914143" y="2806103"/>
                  </a:lnTo>
                  <a:lnTo>
                    <a:pt x="6941109" y="2855466"/>
                  </a:lnTo>
                  <a:cubicBezTo>
                    <a:pt x="6955146" y="2891395"/>
                    <a:pt x="6964754" y="2929525"/>
                    <a:pt x="6969438" y="2969174"/>
                  </a:cubicBezTo>
                  <a:cubicBezTo>
                    <a:pt x="6973378" y="3002617"/>
                    <a:pt x="6983709" y="3090035"/>
                    <a:pt x="6952278" y="3191110"/>
                  </a:cubicBezTo>
                  <a:cubicBezTo>
                    <a:pt x="6953154" y="3210284"/>
                    <a:pt x="6952935" y="3229544"/>
                    <a:pt x="6951491" y="3248893"/>
                  </a:cubicBezTo>
                  <a:cubicBezTo>
                    <a:pt x="6946982" y="3310045"/>
                    <a:pt x="6936870" y="3368309"/>
                    <a:pt x="6920542" y="3426967"/>
                  </a:cubicBezTo>
                  <a:cubicBezTo>
                    <a:pt x="6910879" y="3461713"/>
                    <a:pt x="6897413" y="3494799"/>
                    <a:pt x="6880543" y="3525772"/>
                  </a:cubicBezTo>
                  <a:lnTo>
                    <a:pt x="6854251" y="3563255"/>
                  </a:lnTo>
                  <a:lnTo>
                    <a:pt x="6873862" y="3639800"/>
                  </a:lnTo>
                  <a:cubicBezTo>
                    <a:pt x="6879214" y="3674438"/>
                    <a:pt x="6881474" y="3712366"/>
                    <a:pt x="6879438" y="3753700"/>
                  </a:cubicBezTo>
                  <a:cubicBezTo>
                    <a:pt x="6876636" y="3810301"/>
                    <a:pt x="6866830" y="3859722"/>
                    <a:pt x="6859608" y="3895836"/>
                  </a:cubicBezTo>
                  <a:cubicBezTo>
                    <a:pt x="6858470" y="3901570"/>
                    <a:pt x="6856981" y="3909056"/>
                    <a:pt x="6856194" y="3913346"/>
                  </a:cubicBezTo>
                  <a:cubicBezTo>
                    <a:pt x="6853698" y="3934839"/>
                    <a:pt x="6849540" y="3955719"/>
                    <a:pt x="6843806" y="3975987"/>
                  </a:cubicBezTo>
                  <a:cubicBezTo>
                    <a:pt x="6839121" y="4061610"/>
                    <a:pt x="6815834" y="4143162"/>
                    <a:pt x="6775648" y="4213989"/>
                  </a:cubicBezTo>
                  <a:cubicBezTo>
                    <a:pt x="6695498" y="4355293"/>
                    <a:pt x="6550998" y="4445775"/>
                    <a:pt x="6389120" y="4455974"/>
                  </a:cubicBezTo>
                  <a:cubicBezTo>
                    <a:pt x="6364913" y="4457506"/>
                    <a:pt x="6340837" y="4458250"/>
                    <a:pt x="6315404" y="4458250"/>
                  </a:cubicBezTo>
                  <a:lnTo>
                    <a:pt x="6315491" y="4458163"/>
                  </a:lnTo>
                  <a:cubicBezTo>
                    <a:pt x="6294305" y="4458163"/>
                    <a:pt x="6272505" y="4457638"/>
                    <a:pt x="6246853" y="4456587"/>
                  </a:cubicBezTo>
                  <a:lnTo>
                    <a:pt x="6174453" y="4445736"/>
                  </a:lnTo>
                  <a:lnTo>
                    <a:pt x="6170089" y="4446903"/>
                  </a:lnTo>
                  <a:cubicBezTo>
                    <a:pt x="6145405" y="4451258"/>
                    <a:pt x="6119984" y="4453523"/>
                    <a:pt x="6094036" y="4453523"/>
                  </a:cubicBezTo>
                  <a:lnTo>
                    <a:pt x="6090745" y="4453432"/>
                  </a:lnTo>
                  <a:lnTo>
                    <a:pt x="6089494" y="4487463"/>
                  </a:lnTo>
                  <a:cubicBezTo>
                    <a:pt x="6085252" y="4522440"/>
                    <a:pt x="6079219" y="4552924"/>
                    <a:pt x="6074470" y="4576923"/>
                  </a:cubicBezTo>
                  <a:cubicBezTo>
                    <a:pt x="6073244" y="4583183"/>
                    <a:pt x="6071580" y="4591544"/>
                    <a:pt x="6070836" y="4595746"/>
                  </a:cubicBezTo>
                  <a:cubicBezTo>
                    <a:pt x="6068297" y="4616670"/>
                    <a:pt x="6064138" y="4637069"/>
                    <a:pt x="6058492" y="4656811"/>
                  </a:cubicBezTo>
                  <a:cubicBezTo>
                    <a:pt x="6053983" y="4768305"/>
                    <a:pt x="6012922" y="4880236"/>
                    <a:pt x="5942052" y="4966384"/>
                  </a:cubicBezTo>
                  <a:cubicBezTo>
                    <a:pt x="5852489" y="5075208"/>
                    <a:pt x="5721647" y="5137630"/>
                    <a:pt x="5583057" y="5137630"/>
                  </a:cubicBezTo>
                  <a:cubicBezTo>
                    <a:pt x="5582663" y="5137630"/>
                    <a:pt x="5581087" y="5137630"/>
                    <a:pt x="5581087" y="5137630"/>
                  </a:cubicBezTo>
                  <a:cubicBezTo>
                    <a:pt x="5575441" y="5137630"/>
                    <a:pt x="5567123" y="5137892"/>
                    <a:pt x="5558325" y="5138155"/>
                  </a:cubicBezTo>
                  <a:cubicBezTo>
                    <a:pt x="5544755" y="5138593"/>
                    <a:pt x="5529346" y="5139031"/>
                    <a:pt x="5511880" y="5139031"/>
                  </a:cubicBezTo>
                  <a:cubicBezTo>
                    <a:pt x="5475547" y="5139031"/>
                    <a:pt x="5442322" y="5136842"/>
                    <a:pt x="5410323" y="5132377"/>
                  </a:cubicBezTo>
                  <a:lnTo>
                    <a:pt x="5380608" y="5125145"/>
                  </a:lnTo>
                  <a:lnTo>
                    <a:pt x="5312399" y="5136229"/>
                  </a:lnTo>
                  <a:cubicBezTo>
                    <a:pt x="5283289" y="5138024"/>
                    <a:pt x="5256280" y="5138899"/>
                    <a:pt x="5229840" y="5138899"/>
                  </a:cubicBezTo>
                  <a:cubicBezTo>
                    <a:pt x="5201124" y="5138899"/>
                    <a:pt x="5173502" y="5137893"/>
                    <a:pt x="5145443" y="5135791"/>
                  </a:cubicBezTo>
                  <a:lnTo>
                    <a:pt x="5106458" y="5128675"/>
                  </a:lnTo>
                  <a:lnTo>
                    <a:pt x="5073150" y="5135283"/>
                  </a:lnTo>
                  <a:cubicBezTo>
                    <a:pt x="5054117" y="5137785"/>
                    <a:pt x="5034688" y="5139074"/>
                    <a:pt x="5014952" y="5139074"/>
                  </a:cubicBezTo>
                  <a:lnTo>
                    <a:pt x="5014996" y="5139118"/>
                  </a:lnTo>
                  <a:cubicBezTo>
                    <a:pt x="4981902" y="5139118"/>
                    <a:pt x="4949334" y="5135441"/>
                    <a:pt x="4917904" y="5128350"/>
                  </a:cubicBezTo>
                  <a:cubicBezTo>
                    <a:pt x="4916372" y="5128700"/>
                    <a:pt x="4914796" y="5129050"/>
                    <a:pt x="4913220" y="5129400"/>
                  </a:cubicBezTo>
                  <a:cubicBezTo>
                    <a:pt x="4884110" y="5135660"/>
                    <a:pt x="4853643" y="5138855"/>
                    <a:pt x="4822738" y="5138855"/>
                  </a:cubicBezTo>
                  <a:lnTo>
                    <a:pt x="4759037" y="5132192"/>
                  </a:lnTo>
                  <a:lnTo>
                    <a:pt x="4733788" y="5137499"/>
                  </a:lnTo>
                  <a:cubicBezTo>
                    <a:pt x="4721707" y="5138506"/>
                    <a:pt x="4709581" y="5138987"/>
                    <a:pt x="4697631" y="5138987"/>
                  </a:cubicBezTo>
                  <a:lnTo>
                    <a:pt x="4697631" y="5139031"/>
                  </a:lnTo>
                  <a:cubicBezTo>
                    <a:pt x="4682703" y="5139031"/>
                    <a:pt x="4667995" y="5138287"/>
                    <a:pt x="4653550" y="5136798"/>
                  </a:cubicBezTo>
                  <a:cubicBezTo>
                    <a:pt x="4652674" y="5136798"/>
                    <a:pt x="4651842" y="5136886"/>
                    <a:pt x="4650967" y="5136930"/>
                  </a:cubicBezTo>
                  <a:cubicBezTo>
                    <a:pt x="4631925" y="5137805"/>
                    <a:pt x="4606405" y="5138768"/>
                    <a:pt x="4579089" y="5138768"/>
                  </a:cubicBezTo>
                  <a:cubicBezTo>
                    <a:pt x="4555013" y="5138768"/>
                    <a:pt x="4532601" y="5138024"/>
                    <a:pt x="4510495" y="5136536"/>
                  </a:cubicBezTo>
                  <a:lnTo>
                    <a:pt x="4474702" y="5130507"/>
                  </a:lnTo>
                  <a:lnTo>
                    <a:pt x="4466615" y="5132683"/>
                  </a:lnTo>
                  <a:cubicBezTo>
                    <a:pt x="4441950" y="5137061"/>
                    <a:pt x="4416555" y="5139338"/>
                    <a:pt x="4390640" y="5139338"/>
                  </a:cubicBezTo>
                  <a:lnTo>
                    <a:pt x="4390640" y="5139381"/>
                  </a:lnTo>
                  <a:cubicBezTo>
                    <a:pt x="4357153" y="5139381"/>
                    <a:pt x="4324278" y="5135660"/>
                    <a:pt x="4292585" y="5128481"/>
                  </a:cubicBezTo>
                  <a:cubicBezTo>
                    <a:pt x="4261462" y="5135442"/>
                    <a:pt x="4229069" y="5139075"/>
                    <a:pt x="4195844" y="5139075"/>
                  </a:cubicBezTo>
                  <a:cubicBezTo>
                    <a:pt x="4164403" y="5139075"/>
                    <a:pt x="4133488" y="5135781"/>
                    <a:pt x="4103568" y="5129404"/>
                  </a:cubicBezTo>
                  <a:lnTo>
                    <a:pt x="4097519" y="5127430"/>
                  </a:lnTo>
                  <a:lnTo>
                    <a:pt x="4078618" y="5132448"/>
                  </a:lnTo>
                  <a:cubicBezTo>
                    <a:pt x="4053784" y="5136801"/>
                    <a:pt x="4028221" y="5139069"/>
                    <a:pt x="4002142" y="5139074"/>
                  </a:cubicBezTo>
                  <a:lnTo>
                    <a:pt x="4002142" y="5138987"/>
                  </a:lnTo>
                  <a:lnTo>
                    <a:pt x="3914220" y="5129783"/>
                  </a:lnTo>
                  <a:lnTo>
                    <a:pt x="3849763" y="5137498"/>
                  </a:lnTo>
                  <a:cubicBezTo>
                    <a:pt x="3844598" y="5137630"/>
                    <a:pt x="3839389" y="5137761"/>
                    <a:pt x="3834223" y="5137848"/>
                  </a:cubicBezTo>
                  <a:cubicBezTo>
                    <a:pt x="3817020" y="5138287"/>
                    <a:pt x="3797540" y="5138768"/>
                    <a:pt x="3776747" y="5138768"/>
                  </a:cubicBezTo>
                  <a:lnTo>
                    <a:pt x="3776835" y="5138812"/>
                  </a:lnTo>
                  <a:cubicBezTo>
                    <a:pt x="3748775" y="5138812"/>
                    <a:pt x="3723167" y="5137892"/>
                    <a:pt x="3698479" y="5136054"/>
                  </a:cubicBezTo>
                  <a:lnTo>
                    <a:pt x="3665410" y="5130034"/>
                  </a:lnTo>
                  <a:lnTo>
                    <a:pt x="3578775" y="5139247"/>
                  </a:lnTo>
                  <a:lnTo>
                    <a:pt x="3495124" y="5132169"/>
                  </a:lnTo>
                  <a:lnTo>
                    <a:pt x="3469482" y="5126747"/>
                  </a:lnTo>
                  <a:lnTo>
                    <a:pt x="3447001" y="5132830"/>
                  </a:lnTo>
                  <a:cubicBezTo>
                    <a:pt x="3422219" y="5137255"/>
                    <a:pt x="3396698" y="5139556"/>
                    <a:pt x="3370652" y="5139556"/>
                  </a:cubicBezTo>
                  <a:lnTo>
                    <a:pt x="3370696" y="5139512"/>
                  </a:lnTo>
                  <a:lnTo>
                    <a:pt x="3304181" y="5131323"/>
                  </a:lnTo>
                  <a:lnTo>
                    <a:pt x="3272377" y="5137805"/>
                  </a:lnTo>
                  <a:cubicBezTo>
                    <a:pt x="3261871" y="5138593"/>
                    <a:pt x="3251322" y="5138943"/>
                    <a:pt x="3240904" y="5138943"/>
                  </a:cubicBezTo>
                  <a:cubicBezTo>
                    <a:pt x="3226940" y="5138943"/>
                    <a:pt x="3213063" y="5138243"/>
                    <a:pt x="3199405" y="5136930"/>
                  </a:cubicBezTo>
                  <a:cubicBezTo>
                    <a:pt x="3180801" y="5138725"/>
                    <a:pt x="3161453" y="5139687"/>
                    <a:pt x="3141229" y="5139687"/>
                  </a:cubicBezTo>
                  <a:lnTo>
                    <a:pt x="3141142" y="5139731"/>
                  </a:lnTo>
                  <a:cubicBezTo>
                    <a:pt x="3122187" y="5139731"/>
                    <a:pt x="3104984" y="5138987"/>
                    <a:pt x="3091151" y="5138418"/>
                  </a:cubicBezTo>
                  <a:cubicBezTo>
                    <a:pt x="3085636" y="5138199"/>
                    <a:pt x="3079989" y="5137936"/>
                    <a:pt x="3074167" y="5137761"/>
                  </a:cubicBezTo>
                  <a:cubicBezTo>
                    <a:pt x="3040417" y="5136842"/>
                    <a:pt x="3007337" y="5132289"/>
                    <a:pt x="2975426" y="5124350"/>
                  </a:cubicBezTo>
                  <a:lnTo>
                    <a:pt x="2950676" y="5115248"/>
                  </a:lnTo>
                  <a:lnTo>
                    <a:pt x="2944059" y="5118395"/>
                  </a:lnTo>
                  <a:cubicBezTo>
                    <a:pt x="2900593" y="5134604"/>
                    <a:pt x="2853872" y="5143364"/>
                    <a:pt x="2805699" y="5143364"/>
                  </a:cubicBezTo>
                  <a:lnTo>
                    <a:pt x="2805742" y="5143408"/>
                  </a:lnTo>
                  <a:cubicBezTo>
                    <a:pt x="2785168" y="5143408"/>
                    <a:pt x="2764375" y="5141832"/>
                    <a:pt x="2743407" y="5138505"/>
                  </a:cubicBezTo>
                  <a:lnTo>
                    <a:pt x="2693635" y="5130670"/>
                  </a:lnTo>
                  <a:cubicBezTo>
                    <a:pt x="2589277" y="5114254"/>
                    <a:pt x="2495688" y="5057085"/>
                    <a:pt x="2433483" y="4971681"/>
                  </a:cubicBezTo>
                  <a:cubicBezTo>
                    <a:pt x="2371280" y="4886277"/>
                    <a:pt x="2345541" y="4779686"/>
                    <a:pt x="2361956" y="4675284"/>
                  </a:cubicBezTo>
                  <a:lnTo>
                    <a:pt x="2431042" y="4235785"/>
                  </a:lnTo>
                  <a:lnTo>
                    <a:pt x="2413565" y="4209070"/>
                  </a:lnTo>
                  <a:lnTo>
                    <a:pt x="2408919" y="4196980"/>
                  </a:lnTo>
                  <a:lnTo>
                    <a:pt x="2351674" y="4209961"/>
                  </a:lnTo>
                  <a:cubicBezTo>
                    <a:pt x="2306017" y="4216702"/>
                    <a:pt x="2261499" y="4220117"/>
                    <a:pt x="2219387" y="4220117"/>
                  </a:cubicBezTo>
                  <a:lnTo>
                    <a:pt x="2219387" y="4220029"/>
                  </a:lnTo>
                  <a:cubicBezTo>
                    <a:pt x="2183268" y="4220029"/>
                    <a:pt x="2149443" y="4217604"/>
                    <a:pt x="2117782" y="4213170"/>
                  </a:cubicBezTo>
                  <a:lnTo>
                    <a:pt x="2038944" y="4196344"/>
                  </a:lnTo>
                  <a:lnTo>
                    <a:pt x="2031411" y="4199650"/>
                  </a:lnTo>
                  <a:cubicBezTo>
                    <a:pt x="1990459" y="4213784"/>
                    <a:pt x="1946705" y="4221387"/>
                    <a:pt x="1901541" y="4221387"/>
                  </a:cubicBezTo>
                  <a:cubicBezTo>
                    <a:pt x="1901541" y="4221387"/>
                    <a:pt x="1489229" y="4221387"/>
                    <a:pt x="1489229" y="4221387"/>
                  </a:cubicBezTo>
                  <a:lnTo>
                    <a:pt x="1489229" y="4221431"/>
                  </a:lnTo>
                  <a:cubicBezTo>
                    <a:pt x="1459857" y="4221431"/>
                    <a:pt x="1430858" y="4218189"/>
                    <a:pt x="1402702" y="4211922"/>
                  </a:cubicBezTo>
                  <a:lnTo>
                    <a:pt x="1372815" y="4201777"/>
                  </a:lnTo>
                  <a:lnTo>
                    <a:pt x="1301787" y="4219066"/>
                  </a:lnTo>
                  <a:cubicBezTo>
                    <a:pt x="1253460" y="4227077"/>
                    <a:pt x="1208329" y="4230973"/>
                    <a:pt x="1163854" y="4230973"/>
                  </a:cubicBezTo>
                  <a:lnTo>
                    <a:pt x="1163898" y="4231017"/>
                  </a:lnTo>
                  <a:cubicBezTo>
                    <a:pt x="1114345" y="4231017"/>
                    <a:pt x="1066149" y="4226245"/>
                    <a:pt x="1016597" y="4216396"/>
                  </a:cubicBezTo>
                  <a:lnTo>
                    <a:pt x="963285" y="4200694"/>
                  </a:lnTo>
                  <a:lnTo>
                    <a:pt x="957845" y="4202901"/>
                  </a:lnTo>
                  <a:cubicBezTo>
                    <a:pt x="919327" y="4215215"/>
                    <a:pt x="878521" y="4221781"/>
                    <a:pt x="836596" y="4221781"/>
                  </a:cubicBezTo>
                  <a:cubicBezTo>
                    <a:pt x="836464" y="4221781"/>
                    <a:pt x="424372" y="4221387"/>
                    <a:pt x="424372" y="4221387"/>
                  </a:cubicBezTo>
                  <a:lnTo>
                    <a:pt x="424416" y="4221299"/>
                  </a:lnTo>
                  <a:cubicBezTo>
                    <a:pt x="306838" y="4221168"/>
                    <a:pt x="195301" y="4169120"/>
                    <a:pt x="119702" y="4079076"/>
                  </a:cubicBezTo>
                  <a:cubicBezTo>
                    <a:pt x="44103" y="3989032"/>
                    <a:pt x="12148" y="3870184"/>
                    <a:pt x="32417" y="3754357"/>
                  </a:cubicBezTo>
                  <a:lnTo>
                    <a:pt x="69011" y="3544940"/>
                  </a:lnTo>
                  <a:cubicBezTo>
                    <a:pt x="85646" y="3449730"/>
                    <a:pt x="122373" y="3371111"/>
                    <a:pt x="163302" y="3308645"/>
                  </a:cubicBezTo>
                  <a:cubicBezTo>
                    <a:pt x="142815" y="3246792"/>
                    <a:pt x="137606" y="3180299"/>
                    <a:pt x="148987" y="3114899"/>
                  </a:cubicBezTo>
                  <a:cubicBezTo>
                    <a:pt x="150607" y="3105488"/>
                    <a:pt x="152534" y="3091743"/>
                    <a:pt x="154590" y="3077166"/>
                  </a:cubicBezTo>
                  <a:cubicBezTo>
                    <a:pt x="158749" y="3047487"/>
                    <a:pt x="163663" y="3012314"/>
                    <a:pt x="171444" y="2973908"/>
                  </a:cubicBezTo>
                  <a:lnTo>
                    <a:pt x="188813" y="2911351"/>
                  </a:lnTo>
                  <a:lnTo>
                    <a:pt x="153625" y="2877597"/>
                  </a:lnTo>
                  <a:cubicBezTo>
                    <a:pt x="78201" y="2787466"/>
                    <a:pt x="46465" y="2668618"/>
                    <a:pt x="66864" y="2552878"/>
                  </a:cubicBezTo>
                  <a:lnTo>
                    <a:pt x="231397" y="1619380"/>
                  </a:lnTo>
                  <a:lnTo>
                    <a:pt x="200905" y="1587433"/>
                  </a:lnTo>
                  <a:lnTo>
                    <a:pt x="79956" y="1426518"/>
                  </a:lnTo>
                  <a:cubicBezTo>
                    <a:pt x="-32369" y="1277116"/>
                    <a:pt x="-25716" y="1069761"/>
                    <a:pt x="95933" y="927887"/>
                  </a:cubicBezTo>
                  <a:lnTo>
                    <a:pt x="772205" y="139071"/>
                  </a:lnTo>
                  <a:cubicBezTo>
                    <a:pt x="847978" y="50690"/>
                    <a:pt x="958508" y="0"/>
                    <a:pt x="1074598" y="0"/>
                  </a:cubicBezTo>
                  <a:close/>
                </a:path>
              </a:pathLst>
            </a:custGeom>
            <a:solidFill>
              <a:schemeClr val="accent1"/>
            </a:solidFill>
            <a:ln w="4374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FB165F8D-93D5-6F4D-8579-83A07C4133FB}"/>
                </a:ext>
              </a:extLst>
            </p:cNvPr>
            <p:cNvGrpSpPr/>
            <p:nvPr/>
          </p:nvGrpSpPr>
          <p:grpSpPr>
            <a:xfrm>
              <a:off x="7935026" y="4541815"/>
              <a:ext cx="634818" cy="435719"/>
              <a:chOff x="2730942" y="1047583"/>
              <a:chExt cx="3682116" cy="2527300"/>
            </a:xfrm>
            <a:solidFill>
              <a:schemeClr val="bg1"/>
            </a:solidFill>
          </p:grpSpPr>
          <p:grpSp>
            <p:nvGrpSpPr>
              <p:cNvPr id="102" name="Graphic 2">
                <a:extLst>
                  <a:ext uri="{FF2B5EF4-FFF2-40B4-BE49-F238E27FC236}">
                    <a16:creationId xmlns:a16="http://schemas.microsoft.com/office/drawing/2014/main" id="{087BF8BD-06FB-8186-A45D-41929455ECA5}"/>
                  </a:ext>
                </a:extLst>
              </p:cNvPr>
              <p:cNvGrpSpPr/>
              <p:nvPr/>
            </p:nvGrpSpPr>
            <p:grpSpPr>
              <a:xfrm>
                <a:off x="4522024" y="1081104"/>
                <a:ext cx="696590" cy="560595"/>
                <a:chOff x="-3602103" y="5736311"/>
                <a:chExt cx="1417596" cy="114084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5C96197D-676E-6851-801D-8A8973615E6F}"/>
                    </a:ext>
                  </a:extLst>
                </p:cNvPr>
                <p:cNvSpPr/>
                <p:nvPr/>
              </p:nvSpPr>
              <p:spPr>
                <a:xfrm>
                  <a:off x="-3602103" y="5736311"/>
                  <a:ext cx="728001" cy="1140375"/>
                </a:xfrm>
                <a:custGeom>
                  <a:avLst/>
                  <a:gdLst>
                    <a:gd name="csX0" fmla="*/ 600541 w 728001"/>
                    <a:gd name="csY0" fmla="*/ 926762 h 1140375"/>
                    <a:gd name="csX1" fmla="*/ 487778 w 728001"/>
                    <a:gd name="csY1" fmla="*/ 1096866 h 1140375"/>
                    <a:gd name="csX2" fmla="*/ 320316 w 728001"/>
                    <a:gd name="csY2" fmla="*/ 1140376 h 1140375"/>
                    <a:gd name="csX3" fmla="*/ 0 w 728001"/>
                    <a:gd name="csY3" fmla="*/ 1140272 h 1140375"/>
                    <a:gd name="csX4" fmla="*/ 199939 w 728001"/>
                    <a:gd name="csY4" fmla="*/ 0 h 1140375"/>
                    <a:gd name="csX5" fmla="*/ 523518 w 728001"/>
                    <a:gd name="csY5" fmla="*/ 259 h 1140375"/>
                    <a:gd name="csX6" fmla="*/ 617013 w 728001"/>
                    <a:gd name="csY6" fmla="*/ 21133 h 1140375"/>
                    <a:gd name="csX7" fmla="*/ 725114 w 728001"/>
                    <a:gd name="csY7" fmla="*/ 215426 h 1140375"/>
                    <a:gd name="csX8" fmla="*/ 600541 w 728001"/>
                    <a:gd name="csY8" fmla="*/ 926711 h 1140375"/>
                    <a:gd name="csX9" fmla="*/ 446081 w 728001"/>
                    <a:gd name="csY9" fmla="*/ 892990 h 1140375"/>
                    <a:gd name="csX10" fmla="*/ 560916 w 728001"/>
                    <a:gd name="csY10" fmla="*/ 240237 h 1140375"/>
                    <a:gd name="csX11" fmla="*/ 541596 w 728001"/>
                    <a:gd name="csY11" fmla="*/ 167617 h 1140375"/>
                    <a:gd name="csX12" fmla="*/ 334716 w 728001"/>
                    <a:gd name="csY12" fmla="*/ 140889 h 1140375"/>
                    <a:gd name="csX13" fmla="*/ 185539 w 728001"/>
                    <a:gd name="csY13" fmla="*/ 999901 h 1140375"/>
                    <a:gd name="csX14" fmla="*/ 446029 w 728001"/>
                    <a:gd name="csY14" fmla="*/ 892990 h 11403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</a:cxnLst>
                  <a:rect l="l" t="t" r="r" b="b"/>
                  <a:pathLst>
                    <a:path w="728001" h="1140375">
                      <a:moveTo>
                        <a:pt x="600541" y="926762"/>
                      </a:moveTo>
                      <a:cubicBezTo>
                        <a:pt x="587385" y="1001869"/>
                        <a:pt x="544755" y="1057759"/>
                        <a:pt x="487778" y="1096866"/>
                      </a:cubicBezTo>
                      <a:cubicBezTo>
                        <a:pt x="435825" y="1125458"/>
                        <a:pt x="380867" y="1140427"/>
                        <a:pt x="320316" y="1140376"/>
                      </a:cubicBezTo>
                      <a:lnTo>
                        <a:pt x="0" y="1140272"/>
                      </a:lnTo>
                      <a:lnTo>
                        <a:pt x="199939" y="0"/>
                      </a:lnTo>
                      <a:lnTo>
                        <a:pt x="523518" y="259"/>
                      </a:lnTo>
                      <a:cubicBezTo>
                        <a:pt x="556772" y="259"/>
                        <a:pt x="586090" y="10515"/>
                        <a:pt x="617013" y="21133"/>
                      </a:cubicBezTo>
                      <a:cubicBezTo>
                        <a:pt x="693673" y="51798"/>
                        <a:pt x="740395" y="128406"/>
                        <a:pt x="725114" y="215426"/>
                      </a:cubicBezTo>
                      <a:lnTo>
                        <a:pt x="600541" y="926711"/>
                      </a:lnTo>
                      <a:close/>
                      <a:moveTo>
                        <a:pt x="446081" y="892990"/>
                      </a:moveTo>
                      <a:lnTo>
                        <a:pt x="560916" y="240237"/>
                      </a:lnTo>
                      <a:cubicBezTo>
                        <a:pt x="565578" y="213665"/>
                        <a:pt x="555840" y="184451"/>
                        <a:pt x="541596" y="167617"/>
                      </a:cubicBezTo>
                      <a:cubicBezTo>
                        <a:pt x="507668" y="127474"/>
                        <a:pt x="392315" y="140579"/>
                        <a:pt x="334716" y="140889"/>
                      </a:cubicBezTo>
                      <a:lnTo>
                        <a:pt x="185539" y="999901"/>
                      </a:lnTo>
                      <a:cubicBezTo>
                        <a:pt x="283074" y="1002542"/>
                        <a:pt x="423290" y="1022070"/>
                        <a:pt x="446029" y="8929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26D66142-B105-CAD8-A67A-997A2A160165}"/>
                    </a:ext>
                  </a:extLst>
                </p:cNvPr>
                <p:cNvSpPr/>
                <p:nvPr/>
              </p:nvSpPr>
              <p:spPr>
                <a:xfrm>
                  <a:off x="-2869996" y="5736415"/>
                  <a:ext cx="685489" cy="1140738"/>
                </a:xfrm>
                <a:custGeom>
                  <a:avLst/>
                  <a:gdLst>
                    <a:gd name="csX0" fmla="*/ 527092 w 685489"/>
                    <a:gd name="csY0" fmla="*/ 632241 h 1140738"/>
                    <a:gd name="csX1" fmla="*/ 249405 w 685489"/>
                    <a:gd name="csY1" fmla="*/ 634624 h 1140738"/>
                    <a:gd name="csX2" fmla="*/ 185332 w 685489"/>
                    <a:gd name="csY2" fmla="*/ 1000729 h 1140738"/>
                    <a:gd name="csX3" fmla="*/ 514920 w 685489"/>
                    <a:gd name="csY3" fmla="*/ 1002180 h 1140738"/>
                    <a:gd name="csX4" fmla="*/ 489176 w 685489"/>
                    <a:gd name="csY4" fmla="*/ 1140738 h 1140738"/>
                    <a:gd name="csX5" fmla="*/ 0 w 685489"/>
                    <a:gd name="csY5" fmla="*/ 1140479 h 1140738"/>
                    <a:gd name="csX6" fmla="*/ 200197 w 685489"/>
                    <a:gd name="csY6" fmla="*/ 52 h 1140738"/>
                    <a:gd name="csX7" fmla="*/ 685489 w 685489"/>
                    <a:gd name="csY7" fmla="*/ 0 h 1140738"/>
                    <a:gd name="csX8" fmla="*/ 661507 w 685489"/>
                    <a:gd name="csY8" fmla="*/ 139594 h 1140738"/>
                    <a:gd name="csX9" fmla="*/ 335855 w 685489"/>
                    <a:gd name="csY9" fmla="*/ 139750 h 1140738"/>
                    <a:gd name="csX10" fmla="*/ 275304 w 685489"/>
                    <a:gd name="csY10" fmla="*/ 486120 h 1140738"/>
                    <a:gd name="csX11" fmla="*/ 548536 w 685489"/>
                    <a:gd name="csY11" fmla="*/ 489280 h 1140738"/>
                    <a:gd name="csX12" fmla="*/ 527092 w 685489"/>
                    <a:gd name="csY12" fmla="*/ 632241 h 11407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489" h="1140738">
                      <a:moveTo>
                        <a:pt x="527092" y="632241"/>
                      </a:moveTo>
                      <a:lnTo>
                        <a:pt x="249405" y="634624"/>
                      </a:lnTo>
                      <a:lnTo>
                        <a:pt x="185332" y="1000729"/>
                      </a:lnTo>
                      <a:lnTo>
                        <a:pt x="514920" y="1002180"/>
                      </a:lnTo>
                      <a:lnTo>
                        <a:pt x="489176" y="1140738"/>
                      </a:lnTo>
                      <a:lnTo>
                        <a:pt x="0" y="1140479"/>
                      </a:lnTo>
                      <a:lnTo>
                        <a:pt x="200197" y="52"/>
                      </a:lnTo>
                      <a:lnTo>
                        <a:pt x="685489" y="0"/>
                      </a:lnTo>
                      <a:lnTo>
                        <a:pt x="661507" y="139594"/>
                      </a:lnTo>
                      <a:lnTo>
                        <a:pt x="335855" y="139750"/>
                      </a:lnTo>
                      <a:lnTo>
                        <a:pt x="275304" y="486120"/>
                      </a:lnTo>
                      <a:lnTo>
                        <a:pt x="548536" y="489280"/>
                      </a:lnTo>
                      <a:lnTo>
                        <a:pt x="527092" y="63224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aphic 2">
                <a:extLst>
                  <a:ext uri="{FF2B5EF4-FFF2-40B4-BE49-F238E27FC236}">
                    <a16:creationId xmlns:a16="http://schemas.microsoft.com/office/drawing/2014/main" id="{B6EDDA31-A904-6705-2648-9294257B2E6C}"/>
                  </a:ext>
                </a:extLst>
              </p:cNvPr>
              <p:cNvGrpSpPr/>
              <p:nvPr/>
            </p:nvGrpSpPr>
            <p:grpSpPr>
              <a:xfrm>
                <a:off x="2730942" y="1047583"/>
                <a:ext cx="1671340" cy="600920"/>
                <a:chOff x="-7247048" y="5668094"/>
                <a:chExt cx="3401263" cy="1222904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C44E3B43-7828-CBDA-3F91-140B93F20C2A}"/>
                    </a:ext>
                  </a:extLst>
                </p:cNvPr>
                <p:cNvSpPr/>
                <p:nvPr/>
              </p:nvSpPr>
              <p:spPr>
                <a:xfrm>
                  <a:off x="-7247048" y="5668094"/>
                  <a:ext cx="955043" cy="1209411"/>
                </a:xfrm>
                <a:custGeom>
                  <a:avLst/>
                  <a:gdLst>
                    <a:gd name="csX0" fmla="*/ 930751 w 955043"/>
                    <a:gd name="csY0" fmla="*/ 1207764 h 1209411"/>
                    <a:gd name="csX1" fmla="*/ 591528 w 955043"/>
                    <a:gd name="csY1" fmla="*/ 1059312 h 1209411"/>
                    <a:gd name="csX2" fmla="*/ 171709 w 955043"/>
                    <a:gd name="csY2" fmla="*/ 1135092 h 1209411"/>
                    <a:gd name="csX3" fmla="*/ 143117 w 955043"/>
                    <a:gd name="csY3" fmla="*/ 1123749 h 1209411"/>
                    <a:gd name="csX4" fmla="*/ 0 w 955043"/>
                    <a:gd name="csY4" fmla="*/ 933392 h 1209411"/>
                    <a:gd name="csX5" fmla="*/ 800221 w 955043"/>
                    <a:gd name="csY5" fmla="*/ 0 h 1209411"/>
                    <a:gd name="csX6" fmla="*/ 955044 w 955043"/>
                    <a:gd name="csY6" fmla="*/ 199731 h 1209411"/>
                    <a:gd name="csX7" fmla="*/ 955044 w 955043"/>
                    <a:gd name="csY7" fmla="*/ 1194660 h 1209411"/>
                    <a:gd name="csX8" fmla="*/ 948621 w 955043"/>
                    <a:gd name="csY8" fmla="*/ 1207246 h 1209411"/>
                    <a:gd name="csX9" fmla="*/ 930751 w 955043"/>
                    <a:gd name="csY9" fmla="*/ 1207816 h 12094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955043" h="1209411">
                      <a:moveTo>
                        <a:pt x="930751" y="1207764"/>
                      </a:moveTo>
                      <a:lnTo>
                        <a:pt x="591528" y="1059312"/>
                      </a:lnTo>
                      <a:lnTo>
                        <a:pt x="171709" y="1135092"/>
                      </a:lnTo>
                      <a:cubicBezTo>
                        <a:pt x="160624" y="1137112"/>
                        <a:pt x="149850" y="1132710"/>
                        <a:pt x="143117" y="1123749"/>
                      </a:cubicBezTo>
                      <a:lnTo>
                        <a:pt x="0" y="933392"/>
                      </a:lnTo>
                      <a:lnTo>
                        <a:pt x="800221" y="0"/>
                      </a:lnTo>
                      <a:lnTo>
                        <a:pt x="955044" y="199731"/>
                      </a:lnTo>
                      <a:lnTo>
                        <a:pt x="955044" y="1194660"/>
                      </a:lnTo>
                      <a:cubicBezTo>
                        <a:pt x="955044" y="1202222"/>
                        <a:pt x="951263" y="1206987"/>
                        <a:pt x="948621" y="1207246"/>
                      </a:cubicBezTo>
                      <a:cubicBezTo>
                        <a:pt x="945979" y="1207505"/>
                        <a:pt x="939401" y="1211597"/>
                        <a:pt x="930751" y="1207816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8E9968F8-D180-15B7-EF65-946AC14CF19C}"/>
                    </a:ext>
                  </a:extLst>
                </p:cNvPr>
                <p:cNvSpPr/>
                <p:nvPr/>
              </p:nvSpPr>
              <p:spPr>
                <a:xfrm>
                  <a:off x="-5703894" y="5736777"/>
                  <a:ext cx="1077752" cy="1140530"/>
                </a:xfrm>
                <a:custGeom>
                  <a:avLst/>
                  <a:gdLst>
                    <a:gd name="csX0" fmla="*/ 1069050 w 1077752"/>
                    <a:gd name="csY0" fmla="*/ 875742 h 1140530"/>
                    <a:gd name="csX1" fmla="*/ 1077752 w 1077752"/>
                    <a:gd name="csY1" fmla="*/ 1137993 h 1140530"/>
                    <a:gd name="csX2" fmla="*/ 920598 w 1077752"/>
                    <a:gd name="csY2" fmla="*/ 1139961 h 1140530"/>
                    <a:gd name="csX3" fmla="*/ 915315 w 1077752"/>
                    <a:gd name="csY3" fmla="*/ 1087749 h 1140530"/>
                    <a:gd name="csX4" fmla="*/ 913968 w 1077752"/>
                    <a:gd name="csY4" fmla="*/ 874706 h 1140530"/>
                    <a:gd name="csX5" fmla="*/ 677409 w 1077752"/>
                    <a:gd name="csY5" fmla="*/ 875379 h 1140530"/>
                    <a:gd name="csX6" fmla="*/ 582412 w 1077752"/>
                    <a:gd name="csY6" fmla="*/ 1140531 h 1140530"/>
                    <a:gd name="csX7" fmla="*/ 0 w 1077752"/>
                    <a:gd name="csY7" fmla="*/ 1140065 h 1140530"/>
                    <a:gd name="csX8" fmla="*/ 199835 w 1077752"/>
                    <a:gd name="csY8" fmla="*/ 622 h 1140530"/>
                    <a:gd name="csX9" fmla="*/ 359682 w 1077752"/>
                    <a:gd name="csY9" fmla="*/ 932 h 1140530"/>
                    <a:gd name="csX10" fmla="*/ 185125 w 1077752"/>
                    <a:gd name="csY10" fmla="*/ 993944 h 1140530"/>
                    <a:gd name="csX11" fmla="*/ 478454 w 1077752"/>
                    <a:gd name="csY11" fmla="*/ 995032 h 1140530"/>
                    <a:gd name="csX12" fmla="*/ 851034 w 1077752"/>
                    <a:gd name="csY12" fmla="*/ 0 h 1140530"/>
                    <a:gd name="csX13" fmla="*/ 1045949 w 1077752"/>
                    <a:gd name="csY13" fmla="*/ 0 h 1140530"/>
                    <a:gd name="csX14" fmla="*/ 1055531 w 1077752"/>
                    <a:gd name="csY14" fmla="*/ 336529 h 1140530"/>
                    <a:gd name="csX15" fmla="*/ 1062679 w 1077752"/>
                    <a:gd name="csY15" fmla="*/ 625197 h 1140530"/>
                    <a:gd name="csX16" fmla="*/ 1069102 w 1077752"/>
                    <a:gd name="csY16" fmla="*/ 875794 h 1140530"/>
                    <a:gd name="csX17" fmla="*/ 915211 w 1077752"/>
                    <a:gd name="csY17" fmla="*/ 737235 h 1140530"/>
                    <a:gd name="csX18" fmla="*/ 913088 w 1077752"/>
                    <a:gd name="csY18" fmla="*/ 416504 h 1140530"/>
                    <a:gd name="csX19" fmla="*/ 910032 w 1077752"/>
                    <a:gd name="csY19" fmla="*/ 225112 h 1140530"/>
                    <a:gd name="csX20" fmla="*/ 726979 w 1077752"/>
                    <a:gd name="csY20" fmla="*/ 735940 h 1140530"/>
                    <a:gd name="csX21" fmla="*/ 915211 w 1077752"/>
                    <a:gd name="csY21" fmla="*/ 737183 h 11405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1077752" h="1140530">
                      <a:moveTo>
                        <a:pt x="1069050" y="875742"/>
                      </a:moveTo>
                      <a:cubicBezTo>
                        <a:pt x="1071381" y="966180"/>
                        <a:pt x="1068273" y="1049212"/>
                        <a:pt x="1077752" y="1137993"/>
                      </a:cubicBezTo>
                      <a:lnTo>
                        <a:pt x="920598" y="1139961"/>
                      </a:lnTo>
                      <a:cubicBezTo>
                        <a:pt x="917853" y="1120175"/>
                        <a:pt x="915419" y="1105050"/>
                        <a:pt x="915315" y="1087749"/>
                      </a:cubicBezTo>
                      <a:lnTo>
                        <a:pt x="913968" y="874706"/>
                      </a:lnTo>
                      <a:lnTo>
                        <a:pt x="677409" y="875379"/>
                      </a:lnTo>
                      <a:lnTo>
                        <a:pt x="582412" y="1140531"/>
                      </a:lnTo>
                      <a:lnTo>
                        <a:pt x="0" y="1140065"/>
                      </a:lnTo>
                      <a:lnTo>
                        <a:pt x="199835" y="622"/>
                      </a:lnTo>
                      <a:lnTo>
                        <a:pt x="359682" y="932"/>
                      </a:lnTo>
                      <a:lnTo>
                        <a:pt x="185125" y="993944"/>
                      </a:lnTo>
                      <a:lnTo>
                        <a:pt x="478454" y="995032"/>
                      </a:lnTo>
                      <a:lnTo>
                        <a:pt x="851034" y="0"/>
                      </a:lnTo>
                      <a:lnTo>
                        <a:pt x="1045949" y="0"/>
                      </a:lnTo>
                      <a:cubicBezTo>
                        <a:pt x="1045949" y="0"/>
                        <a:pt x="1055531" y="336529"/>
                        <a:pt x="1055531" y="336529"/>
                      </a:cubicBezTo>
                      <a:lnTo>
                        <a:pt x="1062679" y="625197"/>
                      </a:lnTo>
                      <a:lnTo>
                        <a:pt x="1069102" y="875794"/>
                      </a:lnTo>
                      <a:close/>
                      <a:moveTo>
                        <a:pt x="915211" y="737235"/>
                      </a:moveTo>
                      <a:lnTo>
                        <a:pt x="913088" y="416504"/>
                      </a:lnTo>
                      <a:lnTo>
                        <a:pt x="910032" y="225112"/>
                      </a:lnTo>
                      <a:lnTo>
                        <a:pt x="726979" y="735940"/>
                      </a:lnTo>
                      <a:lnTo>
                        <a:pt x="915211" y="737183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C2D7FE52-3788-ADD0-C9A8-9968DEFD251C}"/>
                    </a:ext>
                  </a:extLst>
                </p:cNvPr>
                <p:cNvSpPr/>
                <p:nvPr/>
              </p:nvSpPr>
              <p:spPr>
                <a:xfrm>
                  <a:off x="-4529567" y="5721640"/>
                  <a:ext cx="683782" cy="1169358"/>
                </a:xfrm>
                <a:custGeom>
                  <a:avLst/>
                  <a:gdLst>
                    <a:gd name="csX0" fmla="*/ 549030 w 683782"/>
                    <a:gd name="csY0" fmla="*/ 971476 h 1169358"/>
                    <a:gd name="csX1" fmla="*/ 353753 w 683782"/>
                    <a:gd name="csY1" fmla="*/ 1159760 h 1169358"/>
                    <a:gd name="csX2" fmla="*/ 140710 w 683782"/>
                    <a:gd name="csY2" fmla="*/ 1158828 h 1169358"/>
                    <a:gd name="csX3" fmla="*/ 1167 w 683782"/>
                    <a:gd name="csY3" fmla="*/ 969456 h 1169358"/>
                    <a:gd name="csX4" fmla="*/ 40792 w 683782"/>
                    <a:gd name="csY4" fmla="*/ 734450 h 1169358"/>
                    <a:gd name="csX5" fmla="*/ 197014 w 683782"/>
                    <a:gd name="csY5" fmla="*/ 735124 h 1169358"/>
                    <a:gd name="csX6" fmla="*/ 163967 w 683782"/>
                    <a:gd name="csY6" fmla="*/ 937756 h 1169358"/>
                    <a:gd name="csX7" fmla="*/ 238970 w 683782"/>
                    <a:gd name="csY7" fmla="*/ 1028712 h 1169358"/>
                    <a:gd name="csX8" fmla="*/ 403842 w 683782"/>
                    <a:gd name="csY8" fmla="*/ 918487 h 1169358"/>
                    <a:gd name="csX9" fmla="*/ 424820 w 683782"/>
                    <a:gd name="csY9" fmla="*/ 806294 h 1169358"/>
                    <a:gd name="csX10" fmla="*/ 374369 w 683782"/>
                    <a:gd name="csY10" fmla="*/ 688765 h 1169358"/>
                    <a:gd name="csX11" fmla="*/ 196859 w 683782"/>
                    <a:gd name="csY11" fmla="*/ 576675 h 1169358"/>
                    <a:gd name="csX12" fmla="*/ 101033 w 683782"/>
                    <a:gd name="csY12" fmla="*/ 412373 h 1169358"/>
                    <a:gd name="csX13" fmla="*/ 134909 w 683782"/>
                    <a:gd name="csY13" fmla="*/ 206270 h 1169358"/>
                    <a:gd name="csX14" fmla="*/ 318376 w 683782"/>
                    <a:gd name="csY14" fmla="*/ 15604 h 1169358"/>
                    <a:gd name="csX15" fmla="*/ 549237 w 683782"/>
                    <a:gd name="csY15" fmla="*/ 14827 h 1169358"/>
                    <a:gd name="csX16" fmla="*/ 681684 w 683782"/>
                    <a:gd name="csY16" fmla="*/ 202696 h 1169358"/>
                    <a:gd name="csX17" fmla="*/ 646203 w 683782"/>
                    <a:gd name="csY17" fmla="*/ 419003 h 1169358"/>
                    <a:gd name="csX18" fmla="*/ 489774 w 683782"/>
                    <a:gd name="csY18" fmla="*/ 419884 h 1169358"/>
                    <a:gd name="csX19" fmla="*/ 520438 w 683782"/>
                    <a:gd name="csY19" fmla="*/ 235432 h 1169358"/>
                    <a:gd name="csX20" fmla="*/ 498372 w 683782"/>
                    <a:gd name="csY20" fmla="*/ 164314 h 1169358"/>
                    <a:gd name="csX21" fmla="*/ 424302 w 683782"/>
                    <a:gd name="csY21" fmla="*/ 140695 h 1169358"/>
                    <a:gd name="csX22" fmla="*/ 288437 w 683782"/>
                    <a:gd name="csY22" fmla="*/ 232584 h 1169358"/>
                    <a:gd name="csX23" fmla="*/ 263937 w 683782"/>
                    <a:gd name="csY23" fmla="*/ 367516 h 1169358"/>
                    <a:gd name="csX24" fmla="*/ 311694 w 683782"/>
                    <a:gd name="csY24" fmla="*/ 462409 h 1169358"/>
                    <a:gd name="csX25" fmla="*/ 483092 w 683782"/>
                    <a:gd name="csY25" fmla="*/ 567610 h 1169358"/>
                    <a:gd name="csX26" fmla="*/ 589639 w 683782"/>
                    <a:gd name="csY26" fmla="*/ 755377 h 1169358"/>
                    <a:gd name="csX27" fmla="*/ 549030 w 683782"/>
                    <a:gd name="csY27" fmla="*/ 971528 h 116935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</a:cxnLst>
                  <a:rect l="l" t="t" r="r" b="b"/>
                  <a:pathLst>
                    <a:path w="683782" h="1169358">
                      <a:moveTo>
                        <a:pt x="549030" y="971476"/>
                      </a:moveTo>
                      <a:cubicBezTo>
                        <a:pt x="526757" y="1072119"/>
                        <a:pt x="452635" y="1143030"/>
                        <a:pt x="353753" y="1159760"/>
                      </a:cubicBezTo>
                      <a:cubicBezTo>
                        <a:pt x="282584" y="1171829"/>
                        <a:pt x="210274" y="1173590"/>
                        <a:pt x="140710" y="1158828"/>
                      </a:cubicBezTo>
                      <a:cubicBezTo>
                        <a:pt x="48510" y="1139300"/>
                        <a:pt x="-9037" y="1064142"/>
                        <a:pt x="1167" y="969456"/>
                      </a:cubicBezTo>
                      <a:cubicBezTo>
                        <a:pt x="9766" y="889791"/>
                        <a:pt x="26703" y="813131"/>
                        <a:pt x="40792" y="734450"/>
                      </a:cubicBezTo>
                      <a:lnTo>
                        <a:pt x="197014" y="735124"/>
                      </a:lnTo>
                      <a:lnTo>
                        <a:pt x="163967" y="937756"/>
                      </a:lnTo>
                      <a:cubicBezTo>
                        <a:pt x="155679" y="988569"/>
                        <a:pt x="193233" y="1022186"/>
                        <a:pt x="238970" y="1028712"/>
                      </a:cubicBezTo>
                      <a:cubicBezTo>
                        <a:pt x="318583" y="1040108"/>
                        <a:pt x="388820" y="998670"/>
                        <a:pt x="403842" y="918487"/>
                      </a:cubicBezTo>
                      <a:lnTo>
                        <a:pt x="424820" y="806294"/>
                      </a:lnTo>
                      <a:cubicBezTo>
                        <a:pt x="434143" y="756413"/>
                        <a:pt x="416169" y="715130"/>
                        <a:pt x="374369" y="688765"/>
                      </a:cubicBezTo>
                      <a:lnTo>
                        <a:pt x="196859" y="576675"/>
                      </a:lnTo>
                      <a:cubicBezTo>
                        <a:pt x="141642" y="541815"/>
                        <a:pt x="95801" y="481575"/>
                        <a:pt x="101033" y="412373"/>
                      </a:cubicBezTo>
                      <a:cubicBezTo>
                        <a:pt x="106368" y="341721"/>
                        <a:pt x="120198" y="274229"/>
                        <a:pt x="134909" y="206270"/>
                      </a:cubicBezTo>
                      <a:cubicBezTo>
                        <a:pt x="155421" y="111274"/>
                        <a:pt x="224933" y="39327"/>
                        <a:pt x="318376" y="15604"/>
                      </a:cubicBezTo>
                      <a:cubicBezTo>
                        <a:pt x="394674" y="-3769"/>
                        <a:pt x="474235" y="-6307"/>
                        <a:pt x="549237" y="14827"/>
                      </a:cubicBezTo>
                      <a:cubicBezTo>
                        <a:pt x="634703" y="38861"/>
                        <a:pt x="696084" y="115055"/>
                        <a:pt x="681684" y="202696"/>
                      </a:cubicBezTo>
                      <a:lnTo>
                        <a:pt x="646203" y="419003"/>
                      </a:lnTo>
                      <a:lnTo>
                        <a:pt x="489774" y="419884"/>
                      </a:lnTo>
                      <a:lnTo>
                        <a:pt x="520438" y="235432"/>
                      </a:lnTo>
                      <a:cubicBezTo>
                        <a:pt x="525048" y="207876"/>
                        <a:pt x="515310" y="181977"/>
                        <a:pt x="498372" y="164314"/>
                      </a:cubicBezTo>
                      <a:cubicBezTo>
                        <a:pt x="479984" y="145097"/>
                        <a:pt x="452946" y="141990"/>
                        <a:pt x="424302" y="140695"/>
                      </a:cubicBezTo>
                      <a:cubicBezTo>
                        <a:pt x="360124" y="137742"/>
                        <a:pt x="304390" y="168769"/>
                        <a:pt x="288437" y="232584"/>
                      </a:cubicBezTo>
                      <a:cubicBezTo>
                        <a:pt x="277507" y="276353"/>
                        <a:pt x="268857" y="321831"/>
                        <a:pt x="263937" y="367516"/>
                      </a:cubicBezTo>
                      <a:cubicBezTo>
                        <a:pt x="259534" y="408799"/>
                        <a:pt x="277870" y="441639"/>
                        <a:pt x="311694" y="462409"/>
                      </a:cubicBezTo>
                      <a:lnTo>
                        <a:pt x="483092" y="567610"/>
                      </a:lnTo>
                      <a:cubicBezTo>
                        <a:pt x="552708" y="610343"/>
                        <a:pt x="601398" y="668357"/>
                        <a:pt x="589639" y="755377"/>
                      </a:cubicBezTo>
                      <a:cubicBezTo>
                        <a:pt x="579850" y="828152"/>
                        <a:pt x="565502" y="896888"/>
                        <a:pt x="549030" y="971528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A66D3F4C-D2B1-4A4A-D0BF-AB417288C08E}"/>
                    </a:ext>
                  </a:extLst>
                </p:cNvPr>
                <p:cNvSpPr/>
                <p:nvPr/>
              </p:nvSpPr>
              <p:spPr>
                <a:xfrm>
                  <a:off x="-6187994" y="5736363"/>
                  <a:ext cx="578060" cy="1141590"/>
                </a:xfrm>
                <a:custGeom>
                  <a:avLst/>
                  <a:gdLst>
                    <a:gd name="csX0" fmla="*/ 181343 w 578060"/>
                    <a:gd name="csY0" fmla="*/ 1138252 h 1141590"/>
                    <a:gd name="csX1" fmla="*/ 21859 w 578060"/>
                    <a:gd name="csY1" fmla="*/ 1139909 h 1141590"/>
                    <a:gd name="csX2" fmla="*/ 197763 w 578060"/>
                    <a:gd name="csY2" fmla="*/ 140579 h 1141590"/>
                    <a:gd name="csX3" fmla="*/ 0 w 578060"/>
                    <a:gd name="csY3" fmla="*/ 138507 h 1141590"/>
                    <a:gd name="csX4" fmla="*/ 24345 w 578060"/>
                    <a:gd name="csY4" fmla="*/ 0 h 1141590"/>
                    <a:gd name="csX5" fmla="*/ 578061 w 578060"/>
                    <a:gd name="csY5" fmla="*/ 0 h 1141590"/>
                    <a:gd name="csX6" fmla="*/ 555270 w 578060"/>
                    <a:gd name="csY6" fmla="*/ 138248 h 1141590"/>
                    <a:gd name="csX7" fmla="*/ 358128 w 578060"/>
                    <a:gd name="csY7" fmla="*/ 140371 h 1141590"/>
                    <a:gd name="csX8" fmla="*/ 181343 w 578060"/>
                    <a:gd name="csY8" fmla="*/ 1138252 h 11415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578060" h="1141590">
                      <a:moveTo>
                        <a:pt x="181343" y="1138252"/>
                      </a:moveTo>
                      <a:cubicBezTo>
                        <a:pt x="127215" y="1144105"/>
                        <a:pt x="79975" y="1140635"/>
                        <a:pt x="21859" y="1139909"/>
                      </a:cubicBezTo>
                      <a:lnTo>
                        <a:pt x="197763" y="140579"/>
                      </a:lnTo>
                      <a:lnTo>
                        <a:pt x="0" y="138507"/>
                      </a:lnTo>
                      <a:lnTo>
                        <a:pt x="24345" y="0"/>
                      </a:lnTo>
                      <a:lnTo>
                        <a:pt x="578061" y="0"/>
                      </a:lnTo>
                      <a:cubicBezTo>
                        <a:pt x="572985" y="47757"/>
                        <a:pt x="565060" y="92096"/>
                        <a:pt x="555270" y="138248"/>
                      </a:cubicBezTo>
                      <a:lnTo>
                        <a:pt x="358128" y="140371"/>
                      </a:lnTo>
                      <a:lnTo>
                        <a:pt x="181343" y="113825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4" name="Graphic 2">
                <a:extLst>
                  <a:ext uri="{FF2B5EF4-FFF2-40B4-BE49-F238E27FC236}">
                    <a16:creationId xmlns:a16="http://schemas.microsoft.com/office/drawing/2014/main" id="{2E7363F0-8A96-4C55-D3FB-CCA1A76FFAC1}"/>
                  </a:ext>
                </a:extLst>
              </p:cNvPr>
              <p:cNvGrpSpPr/>
              <p:nvPr/>
            </p:nvGrpSpPr>
            <p:grpSpPr>
              <a:xfrm>
                <a:off x="2746341" y="2473631"/>
                <a:ext cx="1238309" cy="570840"/>
                <a:chOff x="-7215710" y="8570176"/>
                <a:chExt cx="2520023" cy="1161690"/>
              </a:xfrm>
              <a:grpFill/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804B4C63-AB36-6C32-0FDC-DF9DB03DBD89}"/>
                    </a:ext>
                  </a:extLst>
                </p:cNvPr>
                <p:cNvSpPr/>
                <p:nvPr/>
              </p:nvSpPr>
              <p:spPr>
                <a:xfrm>
                  <a:off x="-6565194" y="8570176"/>
                  <a:ext cx="642572" cy="1161690"/>
                </a:xfrm>
                <a:custGeom>
                  <a:avLst/>
                  <a:gdLst>
                    <a:gd name="csX0" fmla="*/ 310071 w 642572"/>
                    <a:gd name="csY0" fmla="*/ 1153927 h 1161690"/>
                    <a:gd name="csX1" fmla="*/ 141573 w 642572"/>
                    <a:gd name="csY1" fmla="*/ 1153409 h 1161690"/>
                    <a:gd name="csX2" fmla="*/ 2393 w 642572"/>
                    <a:gd name="csY2" fmla="*/ 961343 h 1161690"/>
                    <a:gd name="csX3" fmla="*/ 134684 w 642572"/>
                    <a:gd name="csY3" fmla="*/ 205306 h 1161690"/>
                    <a:gd name="csX4" fmla="*/ 264333 w 642572"/>
                    <a:gd name="csY4" fmla="*/ 31991 h 1161690"/>
                    <a:gd name="csX5" fmla="*/ 512340 w 642572"/>
                    <a:gd name="csY5" fmla="*/ 12722 h 1161690"/>
                    <a:gd name="csX6" fmla="*/ 639866 w 642572"/>
                    <a:gd name="csY6" fmla="*/ 209605 h 1161690"/>
                    <a:gd name="csX7" fmla="*/ 506798 w 642572"/>
                    <a:gd name="csY7" fmla="*/ 961550 h 1161690"/>
                    <a:gd name="csX8" fmla="*/ 310071 w 642572"/>
                    <a:gd name="csY8" fmla="*/ 1153927 h 1161690"/>
                    <a:gd name="csX9" fmla="*/ 352959 w 642572"/>
                    <a:gd name="csY9" fmla="*/ 1039040 h 1161690"/>
                    <a:gd name="csX10" fmla="*/ 420658 w 642572"/>
                    <a:gd name="csY10" fmla="*/ 921097 h 1161690"/>
                    <a:gd name="csX11" fmla="*/ 543522 w 642572"/>
                    <a:gd name="csY11" fmla="*/ 222244 h 1161690"/>
                    <a:gd name="csX12" fmla="*/ 490533 w 642572"/>
                    <a:gd name="csY12" fmla="*/ 105595 h 1161690"/>
                    <a:gd name="csX13" fmla="*/ 311314 w 642572"/>
                    <a:gd name="csY13" fmla="*/ 109739 h 1161690"/>
                    <a:gd name="csX14" fmla="*/ 224708 w 642572"/>
                    <a:gd name="csY14" fmla="*/ 230169 h 1161690"/>
                    <a:gd name="csX15" fmla="*/ 104797 w 642572"/>
                    <a:gd name="csY15" fmla="*/ 895405 h 1161690"/>
                    <a:gd name="csX16" fmla="*/ 164001 w 642572"/>
                    <a:gd name="csY16" fmla="*/ 1063592 h 1161690"/>
                    <a:gd name="csX17" fmla="*/ 352959 w 642572"/>
                    <a:gd name="csY17" fmla="*/ 1039040 h 116169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642572" h="1161690">
                      <a:moveTo>
                        <a:pt x="310071" y="1153927"/>
                      </a:moveTo>
                      <a:cubicBezTo>
                        <a:pt x="249312" y="1164027"/>
                        <a:pt x="198395" y="1164701"/>
                        <a:pt x="141573" y="1153409"/>
                      </a:cubicBezTo>
                      <a:cubicBezTo>
                        <a:pt x="56884" y="1136575"/>
                        <a:pt x="-14079" y="1055511"/>
                        <a:pt x="2393" y="961343"/>
                      </a:cubicBezTo>
                      <a:lnTo>
                        <a:pt x="134684" y="205306"/>
                      </a:lnTo>
                      <a:cubicBezTo>
                        <a:pt x="147996" y="129215"/>
                        <a:pt x="198343" y="62552"/>
                        <a:pt x="264333" y="31991"/>
                      </a:cubicBezTo>
                      <a:cubicBezTo>
                        <a:pt x="343376" y="-4578"/>
                        <a:pt x="428635" y="-8049"/>
                        <a:pt x="512340" y="12722"/>
                      </a:cubicBezTo>
                      <a:cubicBezTo>
                        <a:pt x="596045" y="33493"/>
                        <a:pt x="656286" y="116991"/>
                        <a:pt x="639866" y="209605"/>
                      </a:cubicBezTo>
                      <a:lnTo>
                        <a:pt x="506798" y="961550"/>
                      </a:lnTo>
                      <a:cubicBezTo>
                        <a:pt x="488772" y="1063385"/>
                        <a:pt x="409056" y="1137507"/>
                        <a:pt x="310071" y="1153927"/>
                      </a:cubicBezTo>
                      <a:close/>
                      <a:moveTo>
                        <a:pt x="352959" y="1039040"/>
                      </a:moveTo>
                      <a:cubicBezTo>
                        <a:pt x="390409" y="1011173"/>
                        <a:pt x="412733" y="966316"/>
                        <a:pt x="420658" y="921097"/>
                      </a:cubicBezTo>
                      <a:lnTo>
                        <a:pt x="543522" y="222244"/>
                      </a:lnTo>
                      <a:cubicBezTo>
                        <a:pt x="551654" y="175885"/>
                        <a:pt x="528760" y="122637"/>
                        <a:pt x="490533" y="105595"/>
                      </a:cubicBezTo>
                      <a:cubicBezTo>
                        <a:pt x="433297" y="80059"/>
                        <a:pt x="366996" y="82856"/>
                        <a:pt x="311314" y="109739"/>
                      </a:cubicBezTo>
                      <a:cubicBezTo>
                        <a:pt x="265628" y="131805"/>
                        <a:pt x="234083" y="178216"/>
                        <a:pt x="224708" y="230169"/>
                      </a:cubicBezTo>
                      <a:lnTo>
                        <a:pt x="104797" y="895405"/>
                      </a:lnTo>
                      <a:cubicBezTo>
                        <a:pt x="93919" y="955594"/>
                        <a:pt x="93246" y="1042096"/>
                        <a:pt x="164001" y="1063592"/>
                      </a:cubicBezTo>
                      <a:cubicBezTo>
                        <a:pt x="225174" y="1082187"/>
                        <a:pt x="297691" y="1080219"/>
                        <a:pt x="352959" y="103904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7FDB7EA6-6912-B751-A22D-4760DB566A40}"/>
                    </a:ext>
                  </a:extLst>
                </p:cNvPr>
                <p:cNvSpPr/>
                <p:nvPr/>
              </p:nvSpPr>
              <p:spPr>
                <a:xfrm>
                  <a:off x="-5298729" y="8572369"/>
                  <a:ext cx="603042" cy="1146438"/>
                </a:xfrm>
                <a:custGeom>
                  <a:avLst/>
                  <a:gdLst>
                    <a:gd name="csX0" fmla="*/ 164298 w 603042"/>
                    <a:gd name="csY0" fmla="*/ 524206 h 1146438"/>
                    <a:gd name="csX1" fmla="*/ 428206 w 603042"/>
                    <a:gd name="csY1" fmla="*/ 475464 h 1146438"/>
                    <a:gd name="csX2" fmla="*/ 531543 w 603042"/>
                    <a:gd name="csY2" fmla="*/ 643807 h 1146438"/>
                    <a:gd name="csX3" fmla="*/ 475757 w 603042"/>
                    <a:gd name="csY3" fmla="*/ 964019 h 1146438"/>
                    <a:gd name="csX4" fmla="*/ 294206 w 603042"/>
                    <a:gd name="csY4" fmla="*/ 1139458 h 1146438"/>
                    <a:gd name="csX5" fmla="*/ 19834 w 603042"/>
                    <a:gd name="csY5" fmla="*/ 1061451 h 1146438"/>
                    <a:gd name="csX6" fmla="*/ 3518 w 603042"/>
                    <a:gd name="csY6" fmla="*/ 935220 h 1146438"/>
                    <a:gd name="csX7" fmla="*/ 128195 w 603042"/>
                    <a:gd name="csY7" fmla="*/ 219481 h 1146438"/>
                    <a:gd name="csX8" fmla="*/ 285504 w 603042"/>
                    <a:gd name="csY8" fmla="*/ 14207 h 1146438"/>
                    <a:gd name="csX9" fmla="*/ 481972 w 603042"/>
                    <a:gd name="csY9" fmla="*/ 8458 h 1146438"/>
                    <a:gd name="csX10" fmla="*/ 602350 w 603042"/>
                    <a:gd name="csY10" fmla="*/ 181047 h 1146438"/>
                    <a:gd name="csX11" fmla="*/ 578523 w 603042"/>
                    <a:gd name="csY11" fmla="*/ 335559 h 1146438"/>
                    <a:gd name="csX12" fmla="*/ 492073 w 603042"/>
                    <a:gd name="csY12" fmla="*/ 335352 h 1146438"/>
                    <a:gd name="csX13" fmla="*/ 474669 w 603042"/>
                    <a:gd name="csY13" fmla="*/ 98482 h 1146438"/>
                    <a:gd name="csX14" fmla="*/ 279496 w 603042"/>
                    <a:gd name="csY14" fmla="*/ 109152 h 1146438"/>
                    <a:gd name="csX15" fmla="*/ 216613 w 603042"/>
                    <a:gd name="csY15" fmla="*/ 224661 h 1146438"/>
                    <a:gd name="csX16" fmla="*/ 164246 w 603042"/>
                    <a:gd name="csY16" fmla="*/ 524103 h 1146438"/>
                    <a:gd name="csX17" fmla="*/ 317360 w 603042"/>
                    <a:gd name="csY17" fmla="*/ 1045963 h 1146438"/>
                    <a:gd name="csX18" fmla="*/ 391948 w 603042"/>
                    <a:gd name="csY18" fmla="*/ 939882 h 1146438"/>
                    <a:gd name="csX19" fmla="*/ 442554 w 603042"/>
                    <a:gd name="csY19" fmla="*/ 661729 h 1146438"/>
                    <a:gd name="csX20" fmla="*/ 388478 w 603042"/>
                    <a:gd name="csY20" fmla="*/ 555492 h 1146438"/>
                    <a:gd name="csX21" fmla="*/ 140523 w 603042"/>
                    <a:gd name="csY21" fmla="*/ 662247 h 1146438"/>
                    <a:gd name="csX22" fmla="*/ 91781 w 603042"/>
                    <a:gd name="csY22" fmla="*/ 947859 h 1146438"/>
                    <a:gd name="csX23" fmla="*/ 134566 w 603042"/>
                    <a:gd name="csY23" fmla="*/ 1049330 h 1146438"/>
                    <a:gd name="csX24" fmla="*/ 317360 w 603042"/>
                    <a:gd name="csY24" fmla="*/ 1046015 h 11464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</a:cxnLst>
                  <a:rect l="l" t="t" r="r" b="b"/>
                  <a:pathLst>
                    <a:path w="603042" h="1146438">
                      <a:moveTo>
                        <a:pt x="164298" y="524206"/>
                      </a:moveTo>
                      <a:cubicBezTo>
                        <a:pt x="233499" y="458268"/>
                        <a:pt x="347247" y="445888"/>
                        <a:pt x="428206" y="475464"/>
                      </a:cubicBezTo>
                      <a:cubicBezTo>
                        <a:pt x="498548" y="501104"/>
                        <a:pt x="542524" y="566836"/>
                        <a:pt x="531543" y="643807"/>
                      </a:cubicBezTo>
                      <a:cubicBezTo>
                        <a:pt x="516159" y="751960"/>
                        <a:pt x="498599" y="857938"/>
                        <a:pt x="475757" y="964019"/>
                      </a:cubicBezTo>
                      <a:cubicBezTo>
                        <a:pt x="455297" y="1059016"/>
                        <a:pt x="389203" y="1125472"/>
                        <a:pt x="294206" y="1139458"/>
                      </a:cubicBezTo>
                      <a:cubicBezTo>
                        <a:pt x="204182" y="1152770"/>
                        <a:pt x="68006" y="1156448"/>
                        <a:pt x="19834" y="1061451"/>
                      </a:cubicBezTo>
                      <a:cubicBezTo>
                        <a:pt x="462" y="1023276"/>
                        <a:pt x="-4148" y="979144"/>
                        <a:pt x="3518" y="935220"/>
                      </a:cubicBezTo>
                      <a:lnTo>
                        <a:pt x="128195" y="219481"/>
                      </a:lnTo>
                      <a:cubicBezTo>
                        <a:pt x="144667" y="125002"/>
                        <a:pt x="188125" y="40313"/>
                        <a:pt x="285504" y="14207"/>
                      </a:cubicBezTo>
                      <a:cubicBezTo>
                        <a:pt x="349112" y="-2834"/>
                        <a:pt x="417588" y="-4285"/>
                        <a:pt x="481972" y="8458"/>
                      </a:cubicBezTo>
                      <a:cubicBezTo>
                        <a:pt x="565833" y="25033"/>
                        <a:pt x="609135" y="97290"/>
                        <a:pt x="602350" y="181047"/>
                      </a:cubicBezTo>
                      <a:cubicBezTo>
                        <a:pt x="598051" y="233829"/>
                        <a:pt x="587950" y="283969"/>
                        <a:pt x="578523" y="335559"/>
                      </a:cubicBezTo>
                      <a:cubicBezTo>
                        <a:pt x="547393" y="338305"/>
                        <a:pt x="520199" y="338305"/>
                        <a:pt x="492073" y="335352"/>
                      </a:cubicBezTo>
                      <a:cubicBezTo>
                        <a:pt x="494974" y="278789"/>
                        <a:pt x="545528" y="132409"/>
                        <a:pt x="474669" y="98482"/>
                      </a:cubicBezTo>
                      <a:cubicBezTo>
                        <a:pt x="415412" y="70148"/>
                        <a:pt x="335282" y="71910"/>
                        <a:pt x="279496" y="109152"/>
                      </a:cubicBezTo>
                      <a:cubicBezTo>
                        <a:pt x="241683" y="134378"/>
                        <a:pt x="224072" y="182083"/>
                        <a:pt x="216613" y="224661"/>
                      </a:cubicBezTo>
                      <a:lnTo>
                        <a:pt x="164246" y="524103"/>
                      </a:lnTo>
                      <a:close/>
                      <a:moveTo>
                        <a:pt x="317360" y="1045963"/>
                      </a:moveTo>
                      <a:cubicBezTo>
                        <a:pt x="359316" y="1025710"/>
                        <a:pt x="382884" y="982045"/>
                        <a:pt x="391948" y="939882"/>
                      </a:cubicBezTo>
                      <a:cubicBezTo>
                        <a:pt x="411994" y="846439"/>
                        <a:pt x="428103" y="756207"/>
                        <a:pt x="442554" y="661729"/>
                      </a:cubicBezTo>
                      <a:cubicBezTo>
                        <a:pt x="449184" y="618322"/>
                        <a:pt x="428362" y="571808"/>
                        <a:pt x="388478" y="555492"/>
                      </a:cubicBezTo>
                      <a:cubicBezTo>
                        <a:pt x="290632" y="515504"/>
                        <a:pt x="161397" y="558962"/>
                        <a:pt x="140523" y="662247"/>
                      </a:cubicBezTo>
                      <a:cubicBezTo>
                        <a:pt x="121099" y="758331"/>
                        <a:pt x="103384" y="850531"/>
                        <a:pt x="91781" y="947859"/>
                      </a:cubicBezTo>
                      <a:cubicBezTo>
                        <a:pt x="87327" y="985412"/>
                        <a:pt x="98981" y="1033117"/>
                        <a:pt x="134566" y="1049330"/>
                      </a:cubicBezTo>
                      <a:cubicBezTo>
                        <a:pt x="190145" y="1074659"/>
                        <a:pt x="260072" y="1073675"/>
                        <a:pt x="317360" y="104601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286E534A-0CBD-8E7C-9536-10870027965B}"/>
                    </a:ext>
                  </a:extLst>
                </p:cNvPr>
                <p:cNvSpPr/>
                <p:nvPr/>
              </p:nvSpPr>
              <p:spPr>
                <a:xfrm>
                  <a:off x="-5956200" y="8570448"/>
                  <a:ext cx="655577" cy="1150081"/>
                </a:xfrm>
                <a:custGeom>
                  <a:avLst/>
                  <a:gdLst>
                    <a:gd name="csX0" fmla="*/ 41231 w 655577"/>
                    <a:gd name="csY0" fmla="*/ 911087 h 1150081"/>
                    <a:gd name="csX1" fmla="*/ 148711 w 655577"/>
                    <a:gd name="csY1" fmla="*/ 724875 h 1150081"/>
                    <a:gd name="csX2" fmla="*/ 460843 w 655577"/>
                    <a:gd name="csY2" fmla="*/ 499296 h 1150081"/>
                    <a:gd name="csX3" fmla="*/ 535121 w 655577"/>
                    <a:gd name="csY3" fmla="*/ 362240 h 1150081"/>
                    <a:gd name="csX4" fmla="*/ 529475 w 655577"/>
                    <a:gd name="csY4" fmla="*/ 118688 h 1150081"/>
                    <a:gd name="csX5" fmla="*/ 443284 w 655577"/>
                    <a:gd name="csY5" fmla="*/ 88127 h 1150081"/>
                    <a:gd name="csX6" fmla="*/ 260283 w 655577"/>
                    <a:gd name="csY6" fmla="*/ 221920 h 1150081"/>
                    <a:gd name="csX7" fmla="*/ 226096 w 655577"/>
                    <a:gd name="csY7" fmla="*/ 393785 h 1150081"/>
                    <a:gd name="csX8" fmla="*/ 136538 w 655577"/>
                    <a:gd name="csY8" fmla="*/ 392024 h 1150081"/>
                    <a:gd name="csX9" fmla="*/ 169482 w 655577"/>
                    <a:gd name="csY9" fmla="*/ 205604 h 1150081"/>
                    <a:gd name="csX10" fmla="*/ 531702 w 655577"/>
                    <a:gd name="csY10" fmla="*/ 11570 h 1150081"/>
                    <a:gd name="csX11" fmla="*/ 655550 w 655577"/>
                    <a:gd name="csY11" fmla="*/ 177582 h 1150081"/>
                    <a:gd name="csX12" fmla="*/ 624368 w 655577"/>
                    <a:gd name="csY12" fmla="*/ 388916 h 1150081"/>
                    <a:gd name="csX13" fmla="*/ 549365 w 655577"/>
                    <a:gd name="csY13" fmla="*/ 536487 h 1150081"/>
                    <a:gd name="csX14" fmla="*/ 383250 w 655577"/>
                    <a:gd name="csY14" fmla="*/ 660542 h 1150081"/>
                    <a:gd name="csX15" fmla="*/ 134363 w 655577"/>
                    <a:gd name="csY15" fmla="*/ 918960 h 1150081"/>
                    <a:gd name="csX16" fmla="*/ 109500 w 655577"/>
                    <a:gd name="csY16" fmla="*/ 1061559 h 1150081"/>
                    <a:gd name="csX17" fmla="*/ 504405 w 655577"/>
                    <a:gd name="csY17" fmla="*/ 1062803 h 1150081"/>
                    <a:gd name="csX18" fmla="*/ 487881 w 655577"/>
                    <a:gd name="csY18" fmla="*/ 1150081 h 1150081"/>
                    <a:gd name="csX19" fmla="*/ 0 w 655577"/>
                    <a:gd name="csY19" fmla="*/ 1150081 h 1150081"/>
                    <a:gd name="csX20" fmla="*/ 41231 w 655577"/>
                    <a:gd name="csY20" fmla="*/ 911087 h 11500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655577" h="1150081">
                      <a:moveTo>
                        <a:pt x="41231" y="911087"/>
                      </a:moveTo>
                      <a:cubicBezTo>
                        <a:pt x="54336" y="835048"/>
                        <a:pt x="96240" y="775896"/>
                        <a:pt x="148711" y="724875"/>
                      </a:cubicBezTo>
                      <a:cubicBezTo>
                        <a:pt x="239823" y="637700"/>
                        <a:pt x="372321" y="573471"/>
                        <a:pt x="460843" y="499296"/>
                      </a:cubicBezTo>
                      <a:cubicBezTo>
                        <a:pt x="504508" y="462727"/>
                        <a:pt x="529734" y="419166"/>
                        <a:pt x="535121" y="362240"/>
                      </a:cubicBezTo>
                      <a:cubicBezTo>
                        <a:pt x="542683" y="282109"/>
                        <a:pt x="586038" y="176649"/>
                        <a:pt x="529475" y="118688"/>
                      </a:cubicBezTo>
                      <a:cubicBezTo>
                        <a:pt x="507927" y="96622"/>
                        <a:pt x="475398" y="91131"/>
                        <a:pt x="443284" y="88127"/>
                      </a:cubicBezTo>
                      <a:cubicBezTo>
                        <a:pt x="351757" y="79477"/>
                        <a:pt x="278257" y="131585"/>
                        <a:pt x="260283" y="221920"/>
                      </a:cubicBezTo>
                      <a:lnTo>
                        <a:pt x="226096" y="393785"/>
                      </a:lnTo>
                      <a:cubicBezTo>
                        <a:pt x="194085" y="397307"/>
                        <a:pt x="167099" y="399483"/>
                        <a:pt x="136538" y="392024"/>
                      </a:cubicBezTo>
                      <a:lnTo>
                        <a:pt x="169482" y="205604"/>
                      </a:lnTo>
                      <a:cubicBezTo>
                        <a:pt x="201026" y="26954"/>
                        <a:pt x="374237" y="-26449"/>
                        <a:pt x="531702" y="11570"/>
                      </a:cubicBezTo>
                      <a:cubicBezTo>
                        <a:pt x="608881" y="30217"/>
                        <a:pt x="656897" y="97399"/>
                        <a:pt x="655550" y="177582"/>
                      </a:cubicBezTo>
                      <a:cubicBezTo>
                        <a:pt x="654307" y="248855"/>
                        <a:pt x="633329" y="317280"/>
                        <a:pt x="624368" y="388916"/>
                      </a:cubicBezTo>
                      <a:cubicBezTo>
                        <a:pt x="617116" y="446981"/>
                        <a:pt x="592461" y="496810"/>
                        <a:pt x="549365" y="536487"/>
                      </a:cubicBezTo>
                      <a:cubicBezTo>
                        <a:pt x="497930" y="583779"/>
                        <a:pt x="441212" y="620762"/>
                        <a:pt x="383250" y="660542"/>
                      </a:cubicBezTo>
                      <a:cubicBezTo>
                        <a:pt x="291310" y="723632"/>
                        <a:pt x="154668" y="802830"/>
                        <a:pt x="134363" y="918960"/>
                      </a:cubicBezTo>
                      <a:lnTo>
                        <a:pt x="109500" y="1061559"/>
                      </a:lnTo>
                      <a:lnTo>
                        <a:pt x="504405" y="1062803"/>
                      </a:lnTo>
                      <a:cubicBezTo>
                        <a:pt x="502436" y="1094296"/>
                        <a:pt x="495962" y="1119624"/>
                        <a:pt x="487881" y="1150081"/>
                      </a:cubicBezTo>
                      <a:lnTo>
                        <a:pt x="0" y="1150081"/>
                      </a:lnTo>
                      <a:cubicBezTo>
                        <a:pt x="0" y="1150081"/>
                        <a:pt x="41231" y="911087"/>
                        <a:pt x="41231" y="91108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53306AC3-6E07-EDEB-3DF1-76F5FB4A73F5}"/>
                    </a:ext>
                  </a:extLst>
                </p:cNvPr>
                <p:cNvSpPr/>
                <p:nvPr/>
              </p:nvSpPr>
              <p:spPr>
                <a:xfrm>
                  <a:off x="-7215710" y="8570497"/>
                  <a:ext cx="655716" cy="1150342"/>
                </a:xfrm>
                <a:custGeom>
                  <a:avLst/>
                  <a:gdLst>
                    <a:gd name="csX0" fmla="*/ 43355 w 655716"/>
                    <a:gd name="csY0" fmla="*/ 902025 h 1150342"/>
                    <a:gd name="csX1" fmla="*/ 177976 w 655716"/>
                    <a:gd name="csY1" fmla="*/ 699601 h 1150342"/>
                    <a:gd name="csX2" fmla="*/ 456544 w 655716"/>
                    <a:gd name="csY2" fmla="*/ 503288 h 1150342"/>
                    <a:gd name="csX3" fmla="*/ 526937 w 655716"/>
                    <a:gd name="csY3" fmla="*/ 401505 h 1150342"/>
                    <a:gd name="csX4" fmla="*/ 557912 w 655716"/>
                    <a:gd name="csY4" fmla="*/ 223891 h 1150342"/>
                    <a:gd name="csX5" fmla="*/ 533308 w 655716"/>
                    <a:gd name="csY5" fmla="*/ 122782 h 1150342"/>
                    <a:gd name="csX6" fmla="*/ 434582 w 655716"/>
                    <a:gd name="csY6" fmla="*/ 87871 h 1150342"/>
                    <a:gd name="csX7" fmla="*/ 261371 w 655716"/>
                    <a:gd name="csY7" fmla="*/ 218194 h 1150342"/>
                    <a:gd name="csX8" fmla="*/ 226355 w 655716"/>
                    <a:gd name="csY8" fmla="*/ 393321 h 1150342"/>
                    <a:gd name="csX9" fmla="*/ 138041 w 655716"/>
                    <a:gd name="csY9" fmla="*/ 392959 h 1150342"/>
                    <a:gd name="csX10" fmla="*/ 286026 w 655716"/>
                    <a:gd name="csY10" fmla="*/ 35297 h 1150342"/>
                    <a:gd name="csX11" fmla="*/ 538747 w 655716"/>
                    <a:gd name="csY11" fmla="*/ 13800 h 1150342"/>
                    <a:gd name="csX12" fmla="*/ 654773 w 655716"/>
                    <a:gd name="csY12" fmla="*/ 195869 h 1150342"/>
                    <a:gd name="csX13" fmla="*/ 620017 w 655716"/>
                    <a:gd name="csY13" fmla="*/ 412694 h 1150342"/>
                    <a:gd name="csX14" fmla="*/ 136694 w 655716"/>
                    <a:gd name="csY14" fmla="*/ 910727 h 1150342"/>
                    <a:gd name="csX15" fmla="*/ 109759 w 655716"/>
                    <a:gd name="csY15" fmla="*/ 1061303 h 1150342"/>
                    <a:gd name="csX16" fmla="*/ 502696 w 655716"/>
                    <a:gd name="csY16" fmla="*/ 1062805 h 1150342"/>
                    <a:gd name="csX17" fmla="*/ 487312 w 655716"/>
                    <a:gd name="csY17" fmla="*/ 1150343 h 1150342"/>
                    <a:gd name="csX18" fmla="*/ 0 w 655716"/>
                    <a:gd name="csY18" fmla="*/ 1149877 h 1150342"/>
                    <a:gd name="csX19" fmla="*/ 43303 w 655716"/>
                    <a:gd name="csY19" fmla="*/ 902025 h 11503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655716" h="1150342">
                      <a:moveTo>
                        <a:pt x="43355" y="902025"/>
                      </a:moveTo>
                      <a:cubicBezTo>
                        <a:pt x="58324" y="816456"/>
                        <a:pt x="115353" y="752641"/>
                        <a:pt x="177976" y="699601"/>
                      </a:cubicBezTo>
                      <a:cubicBezTo>
                        <a:pt x="264686" y="625323"/>
                        <a:pt x="368333" y="573940"/>
                        <a:pt x="456544" y="503288"/>
                      </a:cubicBezTo>
                      <a:cubicBezTo>
                        <a:pt x="489176" y="477182"/>
                        <a:pt x="519582" y="443772"/>
                        <a:pt x="526937" y="401505"/>
                      </a:cubicBezTo>
                      <a:lnTo>
                        <a:pt x="557912" y="223891"/>
                      </a:lnTo>
                      <a:cubicBezTo>
                        <a:pt x="563972" y="189291"/>
                        <a:pt x="555684" y="149199"/>
                        <a:pt x="533308" y="122782"/>
                      </a:cubicBezTo>
                      <a:cubicBezTo>
                        <a:pt x="508393" y="93361"/>
                        <a:pt x="469856" y="89891"/>
                        <a:pt x="434582" y="87871"/>
                      </a:cubicBezTo>
                      <a:cubicBezTo>
                        <a:pt x="347717" y="82899"/>
                        <a:pt x="278412" y="133039"/>
                        <a:pt x="261371" y="218194"/>
                      </a:cubicBezTo>
                      <a:lnTo>
                        <a:pt x="226355" y="393321"/>
                      </a:lnTo>
                      <a:cubicBezTo>
                        <a:pt x="196572" y="397828"/>
                        <a:pt x="170569" y="398087"/>
                        <a:pt x="138041" y="392959"/>
                      </a:cubicBezTo>
                      <a:cubicBezTo>
                        <a:pt x="158863" y="273565"/>
                        <a:pt x="161401" y="99163"/>
                        <a:pt x="286026" y="35297"/>
                      </a:cubicBezTo>
                      <a:cubicBezTo>
                        <a:pt x="363205" y="-4225"/>
                        <a:pt x="456492" y="-9301"/>
                        <a:pt x="538747" y="13800"/>
                      </a:cubicBezTo>
                      <a:cubicBezTo>
                        <a:pt x="621001" y="36902"/>
                        <a:pt x="662646" y="111698"/>
                        <a:pt x="654773" y="195869"/>
                      </a:cubicBezTo>
                      <a:cubicBezTo>
                        <a:pt x="647936" y="269370"/>
                        <a:pt x="631775" y="339866"/>
                        <a:pt x="620017" y="412694"/>
                      </a:cubicBezTo>
                      <a:cubicBezTo>
                        <a:pt x="587436" y="614186"/>
                        <a:pt x="182017" y="705402"/>
                        <a:pt x="136694" y="910727"/>
                      </a:cubicBezTo>
                      <a:cubicBezTo>
                        <a:pt x="125557" y="961178"/>
                        <a:pt x="116959" y="1009661"/>
                        <a:pt x="109759" y="1061303"/>
                      </a:cubicBezTo>
                      <a:lnTo>
                        <a:pt x="502696" y="1062805"/>
                      </a:lnTo>
                      <a:cubicBezTo>
                        <a:pt x="502696" y="1094039"/>
                        <a:pt x="498137" y="1120507"/>
                        <a:pt x="487312" y="1150343"/>
                      </a:cubicBezTo>
                      <a:lnTo>
                        <a:pt x="0" y="1149877"/>
                      </a:lnTo>
                      <a:lnTo>
                        <a:pt x="43303" y="90202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69B7DC53-AD5A-3BF6-B253-0147E320B6AC}"/>
                  </a:ext>
                </a:extLst>
              </p:cNvPr>
              <p:cNvSpPr/>
              <p:nvPr/>
            </p:nvSpPr>
            <p:spPr>
              <a:xfrm>
                <a:off x="5348601" y="1779067"/>
                <a:ext cx="386805" cy="562523"/>
              </a:xfrm>
              <a:custGeom>
                <a:avLst/>
                <a:gdLst>
                  <a:gd name="csX0" fmla="*/ 587022 w 787168"/>
                  <a:gd name="csY0" fmla="*/ 1142085 h 1144765"/>
                  <a:gd name="csX1" fmla="*/ 438622 w 787168"/>
                  <a:gd name="csY1" fmla="*/ 1143328 h 1144765"/>
                  <a:gd name="csX2" fmla="*/ 286389 w 787168"/>
                  <a:gd name="csY2" fmla="*/ 362117 h 1144765"/>
                  <a:gd name="csX3" fmla="*/ 148090 w 787168"/>
                  <a:gd name="csY3" fmla="*/ 1141101 h 1144765"/>
                  <a:gd name="csX4" fmla="*/ 0 w 787168"/>
                  <a:gd name="csY4" fmla="*/ 1142603 h 1144765"/>
                  <a:gd name="csX5" fmla="*/ 200301 w 787168"/>
                  <a:gd name="csY5" fmla="*/ 673 h 1144765"/>
                  <a:gd name="csX6" fmla="*/ 357145 w 787168"/>
                  <a:gd name="csY6" fmla="*/ 570 h 1144765"/>
                  <a:gd name="csX7" fmla="*/ 505338 w 787168"/>
                  <a:gd name="csY7" fmla="*/ 755261 h 1144765"/>
                  <a:gd name="csX8" fmla="*/ 639130 w 787168"/>
                  <a:gd name="csY8" fmla="*/ 0 h 1144765"/>
                  <a:gd name="csX9" fmla="*/ 787168 w 787168"/>
                  <a:gd name="csY9" fmla="*/ 1088 h 1144765"/>
                  <a:gd name="csX10" fmla="*/ 586971 w 787168"/>
                  <a:gd name="csY10" fmla="*/ 1142137 h 114476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7168" h="1144765">
                    <a:moveTo>
                      <a:pt x="587022" y="1142085"/>
                    </a:moveTo>
                    <a:lnTo>
                      <a:pt x="438622" y="1143328"/>
                    </a:lnTo>
                    <a:lnTo>
                      <a:pt x="286389" y="362117"/>
                    </a:lnTo>
                    <a:lnTo>
                      <a:pt x="148090" y="1141101"/>
                    </a:lnTo>
                    <a:cubicBezTo>
                      <a:pt x="99918" y="1147109"/>
                      <a:pt x="54284" y="1144312"/>
                      <a:pt x="0" y="1142603"/>
                    </a:cubicBezTo>
                    <a:lnTo>
                      <a:pt x="200301" y="673"/>
                    </a:lnTo>
                    <a:lnTo>
                      <a:pt x="357145" y="570"/>
                    </a:lnTo>
                    <a:lnTo>
                      <a:pt x="505338" y="755261"/>
                    </a:lnTo>
                    <a:lnTo>
                      <a:pt x="639130" y="0"/>
                    </a:lnTo>
                    <a:lnTo>
                      <a:pt x="787168" y="1088"/>
                    </a:lnTo>
                    <a:lnTo>
                      <a:pt x="586971" y="1142137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3501047F-3A8D-CF69-F1C1-BF366FD20D91}"/>
                  </a:ext>
                </a:extLst>
              </p:cNvPr>
              <p:cNvSpPr/>
              <p:nvPr/>
            </p:nvSpPr>
            <p:spPr>
              <a:xfrm>
                <a:off x="4636052" y="1778655"/>
                <a:ext cx="387237" cy="562904"/>
              </a:xfrm>
              <a:custGeom>
                <a:avLst/>
                <a:gdLst>
                  <a:gd name="csX0" fmla="*/ 587644 w 788048"/>
                  <a:gd name="csY0" fmla="*/ 1142200 h 1145539"/>
                  <a:gd name="csX1" fmla="*/ 438519 w 788048"/>
                  <a:gd name="csY1" fmla="*/ 1143444 h 1145539"/>
                  <a:gd name="csX2" fmla="*/ 287580 w 788048"/>
                  <a:gd name="csY2" fmla="*/ 358348 h 1145539"/>
                  <a:gd name="csX3" fmla="*/ 148089 w 788048"/>
                  <a:gd name="csY3" fmla="*/ 1143081 h 1145539"/>
                  <a:gd name="csX4" fmla="*/ 0 w 788048"/>
                  <a:gd name="csY4" fmla="*/ 1143081 h 1145539"/>
                  <a:gd name="csX5" fmla="*/ 200716 w 788048"/>
                  <a:gd name="csY5" fmla="*/ 2550 h 1145539"/>
                  <a:gd name="csX6" fmla="*/ 358491 w 788048"/>
                  <a:gd name="csY6" fmla="*/ 1618 h 1145539"/>
                  <a:gd name="csX7" fmla="*/ 505700 w 788048"/>
                  <a:gd name="csY7" fmla="*/ 756619 h 1145539"/>
                  <a:gd name="csX8" fmla="*/ 639286 w 788048"/>
                  <a:gd name="csY8" fmla="*/ 1669 h 1145539"/>
                  <a:gd name="csX9" fmla="*/ 788049 w 788048"/>
                  <a:gd name="csY9" fmla="*/ 2498 h 1145539"/>
                  <a:gd name="csX10" fmla="*/ 587644 w 788048"/>
                  <a:gd name="csY10" fmla="*/ 1142045 h 114553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788048" h="1145539">
                    <a:moveTo>
                      <a:pt x="587644" y="1142200"/>
                    </a:moveTo>
                    <a:cubicBezTo>
                      <a:pt x="536727" y="1147639"/>
                      <a:pt x="490627" y="1145205"/>
                      <a:pt x="438519" y="1143444"/>
                    </a:cubicBezTo>
                    <a:lnTo>
                      <a:pt x="287580" y="358348"/>
                    </a:lnTo>
                    <a:lnTo>
                      <a:pt x="148089" y="1143081"/>
                    </a:lnTo>
                    <a:cubicBezTo>
                      <a:pt x="99089" y="1146085"/>
                      <a:pt x="52471" y="1146137"/>
                      <a:pt x="0" y="1143081"/>
                    </a:cubicBezTo>
                    <a:lnTo>
                      <a:pt x="200716" y="2550"/>
                    </a:lnTo>
                    <a:cubicBezTo>
                      <a:pt x="253497" y="-1490"/>
                      <a:pt x="304104" y="219"/>
                      <a:pt x="358491" y="1618"/>
                    </a:cubicBezTo>
                    <a:lnTo>
                      <a:pt x="505700" y="756619"/>
                    </a:lnTo>
                    <a:lnTo>
                      <a:pt x="639286" y="1669"/>
                    </a:lnTo>
                    <a:cubicBezTo>
                      <a:pt x="688597" y="12"/>
                      <a:pt x="737494" y="-1387"/>
                      <a:pt x="788049" y="2498"/>
                    </a:cubicBezTo>
                    <a:lnTo>
                      <a:pt x="587644" y="114204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05470D59-86C5-D26D-FA5E-A04F080CDD3F}"/>
                  </a:ext>
                </a:extLst>
              </p:cNvPr>
              <p:cNvSpPr/>
              <p:nvPr/>
            </p:nvSpPr>
            <p:spPr>
              <a:xfrm>
                <a:off x="5736031" y="1771875"/>
                <a:ext cx="340552" cy="574498"/>
              </a:xfrm>
              <a:custGeom>
                <a:avLst/>
                <a:gdLst>
                  <a:gd name="csX0" fmla="*/ 194107 w 693042"/>
                  <a:gd name="csY0" fmla="*/ 1006820 h 1169134"/>
                  <a:gd name="csX1" fmla="*/ 356856 w 693042"/>
                  <a:gd name="csY1" fmla="*/ 1004904 h 1169134"/>
                  <a:gd name="csX2" fmla="*/ 411088 w 693042"/>
                  <a:gd name="csY2" fmla="*/ 911461 h 1169134"/>
                  <a:gd name="csX3" fmla="*/ 451645 w 693042"/>
                  <a:gd name="csY3" fmla="*/ 692409 h 1169134"/>
                  <a:gd name="csX4" fmla="*/ 610508 w 693042"/>
                  <a:gd name="csY4" fmla="*/ 694170 h 1169134"/>
                  <a:gd name="csX5" fmla="*/ 562388 w 693042"/>
                  <a:gd name="csY5" fmla="*/ 960306 h 1169134"/>
                  <a:gd name="csX6" fmla="*/ 354939 w 693042"/>
                  <a:gd name="csY6" fmla="*/ 1160090 h 1169134"/>
                  <a:gd name="csX7" fmla="*/ 141533 w 693042"/>
                  <a:gd name="csY7" fmla="*/ 1157707 h 1169134"/>
                  <a:gd name="csX8" fmla="*/ 2560 w 693042"/>
                  <a:gd name="csY8" fmla="*/ 962896 h 1169134"/>
                  <a:gd name="csX9" fmla="*/ 133090 w 693042"/>
                  <a:gd name="csY9" fmla="*/ 215975 h 1169134"/>
                  <a:gd name="csX10" fmla="*/ 243315 w 693042"/>
                  <a:gd name="csY10" fmla="*/ 48513 h 1169134"/>
                  <a:gd name="csX11" fmla="*/ 594658 w 693042"/>
                  <a:gd name="csY11" fmla="*/ 27846 h 1169134"/>
                  <a:gd name="csX12" fmla="*/ 652878 w 693042"/>
                  <a:gd name="csY12" fmla="*/ 450307 h 1169134"/>
                  <a:gd name="csX13" fmla="*/ 495466 w 693042"/>
                  <a:gd name="csY13" fmla="*/ 450307 h 1169134"/>
                  <a:gd name="csX14" fmla="*/ 527425 w 693042"/>
                  <a:gd name="csY14" fmla="*/ 247571 h 1169134"/>
                  <a:gd name="csX15" fmla="*/ 499817 w 693042"/>
                  <a:gd name="csY15" fmla="*/ 160034 h 1169134"/>
                  <a:gd name="csX16" fmla="*/ 392026 w 693042"/>
                  <a:gd name="csY16" fmla="*/ 144701 h 1169134"/>
                  <a:gd name="csX17" fmla="*/ 288586 w 693042"/>
                  <a:gd name="csY17" fmla="*/ 246069 h 1169134"/>
                  <a:gd name="csX18" fmla="*/ 169866 w 693042"/>
                  <a:gd name="csY18" fmla="*/ 911513 h 1169134"/>
                  <a:gd name="csX19" fmla="*/ 194159 w 693042"/>
                  <a:gd name="csY19" fmla="*/ 1006717 h 116913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93042" h="1169134">
                    <a:moveTo>
                      <a:pt x="194107" y="1006820"/>
                    </a:moveTo>
                    <a:cubicBezTo>
                      <a:pt x="241709" y="1039764"/>
                      <a:pt x="311274" y="1034170"/>
                      <a:pt x="356856" y="1004904"/>
                    </a:cubicBezTo>
                    <a:cubicBezTo>
                      <a:pt x="389281" y="984081"/>
                      <a:pt x="404509" y="947201"/>
                      <a:pt x="411088" y="911461"/>
                    </a:cubicBezTo>
                    <a:lnTo>
                      <a:pt x="451645" y="692409"/>
                    </a:lnTo>
                    <a:lnTo>
                      <a:pt x="610508" y="694170"/>
                    </a:lnTo>
                    <a:lnTo>
                      <a:pt x="562388" y="960306"/>
                    </a:lnTo>
                    <a:cubicBezTo>
                      <a:pt x="543016" y="1067372"/>
                      <a:pt x="462004" y="1143411"/>
                      <a:pt x="354939" y="1160090"/>
                    </a:cubicBezTo>
                    <a:cubicBezTo>
                      <a:pt x="283147" y="1171278"/>
                      <a:pt x="213117" y="1173816"/>
                      <a:pt x="141533" y="1157707"/>
                    </a:cubicBezTo>
                    <a:cubicBezTo>
                      <a:pt x="53270" y="1137817"/>
                      <a:pt x="-14170" y="1058618"/>
                      <a:pt x="2560" y="962896"/>
                    </a:cubicBezTo>
                    <a:lnTo>
                      <a:pt x="133090" y="215975"/>
                    </a:lnTo>
                    <a:cubicBezTo>
                      <a:pt x="145366" y="145841"/>
                      <a:pt x="186182" y="85134"/>
                      <a:pt x="243315" y="48513"/>
                    </a:cubicBezTo>
                    <a:cubicBezTo>
                      <a:pt x="332355" y="-8568"/>
                      <a:pt x="503805" y="-15042"/>
                      <a:pt x="594658" y="27846"/>
                    </a:cubicBezTo>
                    <a:cubicBezTo>
                      <a:pt x="759892" y="105905"/>
                      <a:pt x="671163" y="304652"/>
                      <a:pt x="652878" y="450307"/>
                    </a:cubicBezTo>
                    <a:lnTo>
                      <a:pt x="495466" y="450307"/>
                    </a:lnTo>
                    <a:cubicBezTo>
                      <a:pt x="495466" y="450307"/>
                      <a:pt x="527425" y="247571"/>
                      <a:pt x="527425" y="247571"/>
                    </a:cubicBezTo>
                    <a:cubicBezTo>
                      <a:pt x="532553" y="215198"/>
                      <a:pt x="527632" y="178784"/>
                      <a:pt x="499817" y="160034"/>
                    </a:cubicBezTo>
                    <a:cubicBezTo>
                      <a:pt x="468220" y="138745"/>
                      <a:pt x="429217" y="139056"/>
                      <a:pt x="392026" y="144701"/>
                    </a:cubicBezTo>
                    <a:cubicBezTo>
                      <a:pt x="338985" y="152730"/>
                      <a:pt x="298480" y="190542"/>
                      <a:pt x="288586" y="246069"/>
                    </a:cubicBezTo>
                    <a:lnTo>
                      <a:pt x="169866" y="911513"/>
                    </a:lnTo>
                    <a:cubicBezTo>
                      <a:pt x="164116" y="943627"/>
                      <a:pt x="164272" y="986101"/>
                      <a:pt x="194159" y="10067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41E04D2-F855-7046-160A-96CD37BB9C60}"/>
                  </a:ext>
                </a:extLst>
              </p:cNvPr>
              <p:cNvSpPr/>
              <p:nvPr/>
            </p:nvSpPr>
            <p:spPr>
              <a:xfrm>
                <a:off x="4976559" y="1779526"/>
                <a:ext cx="320357" cy="562027"/>
              </a:xfrm>
              <a:custGeom>
                <a:avLst/>
                <a:gdLst>
                  <a:gd name="csX0" fmla="*/ 495599 w 651944"/>
                  <a:gd name="csY0" fmla="*/ 1142603 h 1143755"/>
                  <a:gd name="csX1" fmla="*/ 490419 w 651944"/>
                  <a:gd name="csY1" fmla="*/ 874343 h 1143755"/>
                  <a:gd name="csX2" fmla="*/ 253912 w 651944"/>
                  <a:gd name="csY2" fmla="*/ 874084 h 1143755"/>
                  <a:gd name="csX3" fmla="*/ 158138 w 651944"/>
                  <a:gd name="csY3" fmla="*/ 1141619 h 1143755"/>
                  <a:gd name="csX4" fmla="*/ 0 w 651944"/>
                  <a:gd name="csY4" fmla="*/ 1140427 h 1143755"/>
                  <a:gd name="csX5" fmla="*/ 426605 w 651944"/>
                  <a:gd name="csY5" fmla="*/ 0 h 1143755"/>
                  <a:gd name="csX6" fmla="*/ 622969 w 651944"/>
                  <a:gd name="csY6" fmla="*/ 570 h 1143755"/>
                  <a:gd name="csX7" fmla="*/ 641306 w 651944"/>
                  <a:gd name="csY7" fmla="*/ 751272 h 1143755"/>
                  <a:gd name="csX8" fmla="*/ 646693 w 651944"/>
                  <a:gd name="csY8" fmla="*/ 1005598 h 1143755"/>
                  <a:gd name="csX9" fmla="*/ 650008 w 651944"/>
                  <a:gd name="csY9" fmla="*/ 1141878 h 1143755"/>
                  <a:gd name="csX10" fmla="*/ 495599 w 651944"/>
                  <a:gd name="csY10" fmla="*/ 1142499 h 1143755"/>
                  <a:gd name="csX11" fmla="*/ 491404 w 651944"/>
                  <a:gd name="csY11" fmla="*/ 736510 h 1143755"/>
                  <a:gd name="csX12" fmla="*/ 490264 w 651944"/>
                  <a:gd name="csY12" fmla="*/ 425931 h 1143755"/>
                  <a:gd name="csX13" fmla="*/ 484463 w 651944"/>
                  <a:gd name="csY13" fmla="*/ 223299 h 1143755"/>
                  <a:gd name="csX14" fmla="*/ 303119 w 651944"/>
                  <a:gd name="csY14" fmla="*/ 736406 h 1143755"/>
                  <a:gd name="csX15" fmla="*/ 491404 w 651944"/>
                  <a:gd name="csY15" fmla="*/ 736510 h 1143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1944" h="1143755">
                    <a:moveTo>
                      <a:pt x="495599" y="1142603"/>
                    </a:moveTo>
                    <a:lnTo>
                      <a:pt x="490419" y="874343"/>
                    </a:lnTo>
                    <a:lnTo>
                      <a:pt x="253912" y="874084"/>
                    </a:lnTo>
                    <a:lnTo>
                      <a:pt x="158138" y="1141619"/>
                    </a:lnTo>
                    <a:cubicBezTo>
                      <a:pt x="106288" y="1143535"/>
                      <a:pt x="55164" y="1145763"/>
                      <a:pt x="0" y="1140427"/>
                    </a:cubicBezTo>
                    <a:lnTo>
                      <a:pt x="426605" y="0"/>
                    </a:lnTo>
                    <a:lnTo>
                      <a:pt x="622969" y="570"/>
                    </a:lnTo>
                    <a:lnTo>
                      <a:pt x="641306" y="751272"/>
                    </a:lnTo>
                    <a:cubicBezTo>
                      <a:pt x="643429" y="838758"/>
                      <a:pt x="648868" y="918889"/>
                      <a:pt x="646693" y="1005598"/>
                    </a:cubicBezTo>
                    <a:cubicBezTo>
                      <a:pt x="645553" y="1051491"/>
                      <a:pt x="656172" y="1095312"/>
                      <a:pt x="650008" y="1141878"/>
                    </a:cubicBezTo>
                    <a:lnTo>
                      <a:pt x="495599" y="1142499"/>
                    </a:lnTo>
                    <a:close/>
                    <a:moveTo>
                      <a:pt x="491404" y="736510"/>
                    </a:moveTo>
                    <a:lnTo>
                      <a:pt x="490264" y="425931"/>
                    </a:lnTo>
                    <a:lnTo>
                      <a:pt x="484463" y="223299"/>
                    </a:lnTo>
                    <a:lnTo>
                      <a:pt x="303119" y="736406"/>
                    </a:lnTo>
                    <a:lnTo>
                      <a:pt x="491404" y="73651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D72D4D52-AD00-C252-3DC3-05C008295C34}"/>
                  </a:ext>
                </a:extLst>
              </p:cNvPr>
              <p:cNvSpPr/>
              <p:nvPr/>
            </p:nvSpPr>
            <p:spPr>
              <a:xfrm>
                <a:off x="6074945" y="1779042"/>
                <a:ext cx="338113" cy="562071"/>
              </a:xfrm>
              <a:custGeom>
                <a:avLst/>
                <a:gdLst>
                  <a:gd name="csX0" fmla="*/ 528024 w 688078"/>
                  <a:gd name="csY0" fmla="*/ 632138 h 1143845"/>
                  <a:gd name="csX1" fmla="*/ 249353 w 688078"/>
                  <a:gd name="csY1" fmla="*/ 634469 h 1143845"/>
                  <a:gd name="csX2" fmla="*/ 186782 w 688078"/>
                  <a:gd name="csY2" fmla="*/ 1000885 h 1143845"/>
                  <a:gd name="csX3" fmla="*/ 516577 w 688078"/>
                  <a:gd name="csY3" fmla="*/ 1002749 h 1143845"/>
                  <a:gd name="csX4" fmla="*/ 490471 w 688078"/>
                  <a:gd name="csY4" fmla="*/ 1143587 h 1143845"/>
                  <a:gd name="csX5" fmla="*/ 0 w 688078"/>
                  <a:gd name="csY5" fmla="*/ 1143846 h 1143845"/>
                  <a:gd name="csX6" fmla="*/ 200405 w 688078"/>
                  <a:gd name="csY6" fmla="*/ 52 h 1143845"/>
                  <a:gd name="csX7" fmla="*/ 688079 w 688078"/>
                  <a:gd name="csY7" fmla="*/ 0 h 1143845"/>
                  <a:gd name="csX8" fmla="*/ 663889 w 688078"/>
                  <a:gd name="csY8" fmla="*/ 137833 h 1143845"/>
                  <a:gd name="csX9" fmla="*/ 336062 w 688078"/>
                  <a:gd name="csY9" fmla="*/ 139905 h 1143845"/>
                  <a:gd name="csX10" fmla="*/ 275770 w 688078"/>
                  <a:gd name="csY10" fmla="*/ 486224 h 1143845"/>
                  <a:gd name="csX11" fmla="*/ 548795 w 688078"/>
                  <a:gd name="csY11" fmla="*/ 489798 h 1143845"/>
                  <a:gd name="csX12" fmla="*/ 528024 w 688078"/>
                  <a:gd name="csY12" fmla="*/ 632138 h 11438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8078" h="1143845">
                    <a:moveTo>
                      <a:pt x="528024" y="632138"/>
                    </a:moveTo>
                    <a:lnTo>
                      <a:pt x="249353" y="634469"/>
                    </a:lnTo>
                    <a:lnTo>
                      <a:pt x="186782" y="1000885"/>
                    </a:lnTo>
                    <a:lnTo>
                      <a:pt x="516577" y="1002749"/>
                    </a:lnTo>
                    <a:lnTo>
                      <a:pt x="490471" y="1143587"/>
                    </a:lnTo>
                    <a:lnTo>
                      <a:pt x="0" y="1143846"/>
                    </a:lnTo>
                    <a:lnTo>
                      <a:pt x="200405" y="52"/>
                    </a:lnTo>
                    <a:lnTo>
                      <a:pt x="688079" y="0"/>
                    </a:lnTo>
                    <a:lnTo>
                      <a:pt x="663889" y="137833"/>
                    </a:lnTo>
                    <a:lnTo>
                      <a:pt x="336062" y="139905"/>
                    </a:lnTo>
                    <a:lnTo>
                      <a:pt x="275770" y="486224"/>
                    </a:lnTo>
                    <a:lnTo>
                      <a:pt x="548795" y="489798"/>
                    </a:lnTo>
                    <a:lnTo>
                      <a:pt x="528024" y="632138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0" name="Graphic 2">
                <a:extLst>
                  <a:ext uri="{FF2B5EF4-FFF2-40B4-BE49-F238E27FC236}">
                    <a16:creationId xmlns:a16="http://schemas.microsoft.com/office/drawing/2014/main" id="{3E5B2B36-BCCE-01E6-1DF7-443ADA11748C}"/>
                  </a:ext>
                </a:extLst>
              </p:cNvPr>
              <p:cNvGrpSpPr/>
              <p:nvPr/>
            </p:nvGrpSpPr>
            <p:grpSpPr>
              <a:xfrm>
                <a:off x="3966315" y="1779017"/>
                <a:ext cx="669653" cy="562590"/>
                <a:chOff x="-4733000" y="7156601"/>
                <a:chExt cx="1362779" cy="1144900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2B90B4E1-E75E-984F-4AC2-7E7730215E44}"/>
                    </a:ext>
                  </a:extLst>
                </p:cNvPr>
                <p:cNvSpPr/>
                <p:nvPr/>
              </p:nvSpPr>
              <p:spPr>
                <a:xfrm>
                  <a:off x="-4101588" y="7156704"/>
                  <a:ext cx="731366" cy="1144797"/>
                </a:xfrm>
                <a:custGeom>
                  <a:avLst/>
                  <a:gdLst>
                    <a:gd name="csX0" fmla="*/ 607275 w 731366"/>
                    <a:gd name="csY0" fmla="*/ 1140479 h 1144797"/>
                    <a:gd name="csX1" fmla="*/ 448204 w 731366"/>
                    <a:gd name="csY1" fmla="*/ 1143121 h 1144797"/>
                    <a:gd name="csX2" fmla="*/ 370819 w 731366"/>
                    <a:gd name="csY2" fmla="*/ 676632 h 1144797"/>
                    <a:gd name="csX3" fmla="*/ 241118 w 731366"/>
                    <a:gd name="csY3" fmla="*/ 677409 h 1144797"/>
                    <a:gd name="csX4" fmla="*/ 159433 w 731366"/>
                    <a:gd name="csY4" fmla="*/ 1143017 h 1144797"/>
                    <a:gd name="csX5" fmla="*/ 0 w 731366"/>
                    <a:gd name="csY5" fmla="*/ 1143017 h 1144797"/>
                    <a:gd name="csX6" fmla="*/ 200094 w 731366"/>
                    <a:gd name="csY6" fmla="*/ 0 h 1144797"/>
                    <a:gd name="csX7" fmla="*/ 527869 w 731366"/>
                    <a:gd name="csY7" fmla="*/ 259 h 1144797"/>
                    <a:gd name="csX8" fmla="*/ 624213 w 731366"/>
                    <a:gd name="csY8" fmla="*/ 22843 h 1144797"/>
                    <a:gd name="csX9" fmla="*/ 730657 w 731366"/>
                    <a:gd name="csY9" fmla="*/ 208589 h 1144797"/>
                    <a:gd name="csX10" fmla="*/ 686629 w 731366"/>
                    <a:gd name="csY10" fmla="*/ 460791 h 1144797"/>
                    <a:gd name="csX11" fmla="*/ 521705 w 731366"/>
                    <a:gd name="csY11" fmla="*/ 653478 h 1144797"/>
                    <a:gd name="csX12" fmla="*/ 607327 w 731366"/>
                    <a:gd name="csY12" fmla="*/ 1140479 h 1144797"/>
                    <a:gd name="csX13" fmla="*/ 529941 w 731366"/>
                    <a:gd name="csY13" fmla="*/ 436343 h 1144797"/>
                    <a:gd name="csX14" fmla="*/ 563609 w 731366"/>
                    <a:gd name="csY14" fmla="*/ 227029 h 1144797"/>
                    <a:gd name="csX15" fmla="*/ 335545 w 731366"/>
                    <a:gd name="csY15" fmla="*/ 140423 h 1144797"/>
                    <a:gd name="csX16" fmla="*/ 266965 w 731366"/>
                    <a:gd name="csY16" fmla="*/ 534499 h 1144797"/>
                    <a:gd name="csX17" fmla="*/ 529941 w 731366"/>
                    <a:gd name="csY17" fmla="*/ 436343 h 114479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</a:cxnLst>
                  <a:rect l="l" t="t" r="r" b="b"/>
                  <a:pathLst>
                    <a:path w="731366" h="1144797">
                      <a:moveTo>
                        <a:pt x="607275" y="1140479"/>
                      </a:moveTo>
                      <a:cubicBezTo>
                        <a:pt x="554079" y="1148249"/>
                        <a:pt x="503058" y="1143173"/>
                        <a:pt x="448204" y="1143121"/>
                      </a:cubicBezTo>
                      <a:lnTo>
                        <a:pt x="370819" y="676632"/>
                      </a:lnTo>
                      <a:cubicBezTo>
                        <a:pt x="324356" y="674353"/>
                        <a:pt x="283540" y="672902"/>
                        <a:pt x="241118" y="677409"/>
                      </a:cubicBezTo>
                      <a:lnTo>
                        <a:pt x="159433" y="1143017"/>
                      </a:lnTo>
                      <a:lnTo>
                        <a:pt x="0" y="1143017"/>
                      </a:lnTo>
                      <a:cubicBezTo>
                        <a:pt x="0" y="1143017"/>
                        <a:pt x="200094" y="0"/>
                        <a:pt x="200094" y="0"/>
                      </a:cubicBezTo>
                      <a:lnTo>
                        <a:pt x="527869" y="259"/>
                      </a:lnTo>
                      <a:cubicBezTo>
                        <a:pt x="561745" y="259"/>
                        <a:pt x="593859" y="11758"/>
                        <a:pt x="624213" y="22843"/>
                      </a:cubicBezTo>
                      <a:cubicBezTo>
                        <a:pt x="700459" y="53921"/>
                        <a:pt x="737028" y="125816"/>
                        <a:pt x="730657" y="208589"/>
                      </a:cubicBezTo>
                      <a:lnTo>
                        <a:pt x="686629" y="460791"/>
                      </a:lnTo>
                      <a:cubicBezTo>
                        <a:pt x="670831" y="551178"/>
                        <a:pt x="611937" y="623643"/>
                        <a:pt x="521705" y="653478"/>
                      </a:cubicBezTo>
                      <a:lnTo>
                        <a:pt x="607327" y="1140479"/>
                      </a:lnTo>
                      <a:close/>
                      <a:moveTo>
                        <a:pt x="529941" y="436343"/>
                      </a:moveTo>
                      <a:cubicBezTo>
                        <a:pt x="546050" y="367089"/>
                        <a:pt x="558326" y="296852"/>
                        <a:pt x="563609" y="227029"/>
                      </a:cubicBezTo>
                      <a:cubicBezTo>
                        <a:pt x="572415" y="110070"/>
                        <a:pt x="411583" y="143842"/>
                        <a:pt x="335545" y="140423"/>
                      </a:cubicBezTo>
                      <a:lnTo>
                        <a:pt x="266965" y="534499"/>
                      </a:lnTo>
                      <a:cubicBezTo>
                        <a:pt x="366416" y="532997"/>
                        <a:pt x="500623" y="562522"/>
                        <a:pt x="529941" y="4363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47A33F2C-F998-0139-8E65-D6C7727C7C7C}"/>
                    </a:ext>
                  </a:extLst>
                </p:cNvPr>
                <p:cNvSpPr/>
                <p:nvPr/>
              </p:nvSpPr>
              <p:spPr>
                <a:xfrm>
                  <a:off x="-4733000" y="7156601"/>
                  <a:ext cx="685644" cy="1144105"/>
                </a:xfrm>
                <a:custGeom>
                  <a:avLst/>
                  <a:gdLst>
                    <a:gd name="csX0" fmla="*/ 527196 w 685644"/>
                    <a:gd name="csY0" fmla="*/ 632811 h 1144105"/>
                    <a:gd name="csX1" fmla="*/ 249095 w 685644"/>
                    <a:gd name="csY1" fmla="*/ 634780 h 1144105"/>
                    <a:gd name="csX2" fmla="*/ 185280 w 685644"/>
                    <a:gd name="csY2" fmla="*/ 1000936 h 1144105"/>
                    <a:gd name="csX3" fmla="*/ 515593 w 685644"/>
                    <a:gd name="csY3" fmla="*/ 1003060 h 1144105"/>
                    <a:gd name="csX4" fmla="*/ 488348 w 685644"/>
                    <a:gd name="csY4" fmla="*/ 1144105 h 1144105"/>
                    <a:gd name="csX5" fmla="*/ 0 w 685644"/>
                    <a:gd name="csY5" fmla="*/ 1143587 h 1144105"/>
                    <a:gd name="csX6" fmla="*/ 200094 w 685644"/>
                    <a:gd name="csY6" fmla="*/ 259 h 1144105"/>
                    <a:gd name="csX7" fmla="*/ 685645 w 685644"/>
                    <a:gd name="csY7" fmla="*/ 0 h 1144105"/>
                    <a:gd name="csX8" fmla="*/ 661766 w 685644"/>
                    <a:gd name="csY8" fmla="*/ 139439 h 1144105"/>
                    <a:gd name="csX9" fmla="*/ 335648 w 685644"/>
                    <a:gd name="csY9" fmla="*/ 139905 h 1144105"/>
                    <a:gd name="csX10" fmla="*/ 275511 w 685644"/>
                    <a:gd name="csY10" fmla="*/ 487208 h 1144105"/>
                    <a:gd name="csX11" fmla="*/ 549624 w 685644"/>
                    <a:gd name="csY11" fmla="*/ 489021 h 1144105"/>
                    <a:gd name="csX12" fmla="*/ 527196 w 685644"/>
                    <a:gd name="csY12" fmla="*/ 632811 h 1144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685644" h="1144105">
                      <a:moveTo>
                        <a:pt x="527196" y="632811"/>
                      </a:moveTo>
                      <a:lnTo>
                        <a:pt x="249095" y="634780"/>
                      </a:lnTo>
                      <a:lnTo>
                        <a:pt x="185280" y="1000936"/>
                      </a:lnTo>
                      <a:lnTo>
                        <a:pt x="515593" y="1003060"/>
                      </a:lnTo>
                      <a:lnTo>
                        <a:pt x="488348" y="1144105"/>
                      </a:lnTo>
                      <a:lnTo>
                        <a:pt x="0" y="1143587"/>
                      </a:lnTo>
                      <a:lnTo>
                        <a:pt x="200094" y="259"/>
                      </a:lnTo>
                      <a:lnTo>
                        <a:pt x="685645" y="0"/>
                      </a:lnTo>
                      <a:lnTo>
                        <a:pt x="661766" y="139439"/>
                      </a:lnTo>
                      <a:lnTo>
                        <a:pt x="335648" y="139905"/>
                      </a:lnTo>
                      <a:lnTo>
                        <a:pt x="275511" y="487208"/>
                      </a:lnTo>
                      <a:lnTo>
                        <a:pt x="549624" y="489021"/>
                      </a:lnTo>
                      <a:lnTo>
                        <a:pt x="527196" y="63281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1BC570F5-8A6B-830D-6596-33D993BD45A4}"/>
                  </a:ext>
                </a:extLst>
              </p:cNvPr>
              <p:cNvSpPr/>
              <p:nvPr/>
            </p:nvSpPr>
            <p:spPr>
              <a:xfrm>
                <a:off x="3728256" y="1779042"/>
                <a:ext cx="284536" cy="562560"/>
              </a:xfrm>
              <a:custGeom>
                <a:avLst/>
                <a:gdLst>
                  <a:gd name="csX0" fmla="*/ 181395 w 579045"/>
                  <a:gd name="csY0" fmla="*/ 1141153 h 1144840"/>
                  <a:gd name="csX1" fmla="*/ 21859 w 579045"/>
                  <a:gd name="csY1" fmla="*/ 1142706 h 1144840"/>
                  <a:gd name="csX2" fmla="*/ 198229 w 579045"/>
                  <a:gd name="csY2" fmla="*/ 141304 h 1144840"/>
                  <a:gd name="csX3" fmla="*/ 0 w 579045"/>
                  <a:gd name="csY3" fmla="*/ 138507 h 1144840"/>
                  <a:gd name="csX4" fmla="*/ 24500 w 579045"/>
                  <a:gd name="csY4" fmla="*/ 104 h 1144840"/>
                  <a:gd name="csX5" fmla="*/ 579045 w 579045"/>
                  <a:gd name="csY5" fmla="*/ 0 h 1144840"/>
                  <a:gd name="csX6" fmla="*/ 555944 w 579045"/>
                  <a:gd name="csY6" fmla="*/ 138817 h 1144840"/>
                  <a:gd name="csX7" fmla="*/ 358802 w 579045"/>
                  <a:gd name="csY7" fmla="*/ 140475 h 1144840"/>
                  <a:gd name="csX8" fmla="*/ 181395 w 579045"/>
                  <a:gd name="csY8" fmla="*/ 1141153 h 1144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9045" h="1144840">
                    <a:moveTo>
                      <a:pt x="181395" y="1141153"/>
                    </a:moveTo>
                    <a:cubicBezTo>
                      <a:pt x="128665" y="1147420"/>
                      <a:pt x="77696" y="1144105"/>
                      <a:pt x="21859" y="1142706"/>
                    </a:cubicBezTo>
                    <a:lnTo>
                      <a:pt x="198229" y="141304"/>
                    </a:lnTo>
                    <a:lnTo>
                      <a:pt x="0" y="138507"/>
                    </a:lnTo>
                    <a:lnTo>
                      <a:pt x="24500" y="104"/>
                    </a:lnTo>
                    <a:lnTo>
                      <a:pt x="579045" y="0"/>
                    </a:lnTo>
                    <a:lnTo>
                      <a:pt x="555944" y="138817"/>
                    </a:lnTo>
                    <a:lnTo>
                      <a:pt x="358802" y="140475"/>
                    </a:lnTo>
                    <a:lnTo>
                      <a:pt x="181395" y="114115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7C9356D3-833B-B69C-4A7A-389F3E645743}"/>
                  </a:ext>
                </a:extLst>
              </p:cNvPr>
              <p:cNvSpPr/>
              <p:nvPr/>
            </p:nvSpPr>
            <p:spPr>
              <a:xfrm>
                <a:off x="3441327" y="1778718"/>
                <a:ext cx="241470" cy="562294"/>
              </a:xfrm>
              <a:custGeom>
                <a:avLst/>
                <a:gdLst>
                  <a:gd name="csX0" fmla="*/ 491404 w 491403"/>
                  <a:gd name="csY0" fmla="*/ 997452 h 1144298"/>
                  <a:gd name="csX1" fmla="*/ 466075 w 491403"/>
                  <a:gd name="csY1" fmla="*/ 1144299 h 1144298"/>
                  <a:gd name="csX2" fmla="*/ 0 w 491403"/>
                  <a:gd name="csY2" fmla="*/ 1143677 h 1144298"/>
                  <a:gd name="csX3" fmla="*/ 200457 w 491403"/>
                  <a:gd name="csY3" fmla="*/ 1385 h 1144298"/>
                  <a:gd name="csX4" fmla="*/ 360874 w 491403"/>
                  <a:gd name="csY4" fmla="*/ 2887 h 1144298"/>
                  <a:gd name="csX5" fmla="*/ 186471 w 491403"/>
                  <a:gd name="csY5" fmla="*/ 994914 h 1144298"/>
                  <a:gd name="csX6" fmla="*/ 491404 w 491403"/>
                  <a:gd name="csY6" fmla="*/ 997504 h 114429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91403" h="1144298">
                    <a:moveTo>
                      <a:pt x="491404" y="997452"/>
                    </a:moveTo>
                    <a:lnTo>
                      <a:pt x="466075" y="1144299"/>
                    </a:lnTo>
                    <a:lnTo>
                      <a:pt x="0" y="1143677"/>
                    </a:lnTo>
                    <a:lnTo>
                      <a:pt x="200457" y="1385"/>
                    </a:lnTo>
                    <a:cubicBezTo>
                      <a:pt x="255776" y="608"/>
                      <a:pt x="307108" y="-1982"/>
                      <a:pt x="360874" y="2887"/>
                    </a:cubicBezTo>
                    <a:lnTo>
                      <a:pt x="186471" y="994914"/>
                    </a:lnTo>
                    <a:lnTo>
                      <a:pt x="491404" y="99750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13" name="Graphic 2">
                <a:extLst>
                  <a:ext uri="{FF2B5EF4-FFF2-40B4-BE49-F238E27FC236}">
                    <a16:creationId xmlns:a16="http://schemas.microsoft.com/office/drawing/2014/main" id="{8E008C0A-EF1C-BE33-4366-BCD63A06A2EC}"/>
                  </a:ext>
                </a:extLst>
              </p:cNvPr>
              <p:cNvGrpSpPr/>
              <p:nvPr/>
            </p:nvGrpSpPr>
            <p:grpSpPr>
              <a:xfrm>
                <a:off x="2766296" y="1778657"/>
                <a:ext cx="622739" cy="562895"/>
                <a:chOff x="-7175101" y="7155869"/>
                <a:chExt cx="1267307" cy="1145521"/>
              </a:xfrm>
              <a:grpFill/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6E78BF9D-3CD9-D10A-0256-BBA985B66095}"/>
                    </a:ext>
                  </a:extLst>
                </p:cNvPr>
                <p:cNvSpPr/>
                <p:nvPr/>
              </p:nvSpPr>
              <p:spPr>
                <a:xfrm>
                  <a:off x="-6558243" y="7157585"/>
                  <a:ext cx="650449" cy="1143805"/>
                </a:xfrm>
                <a:custGeom>
                  <a:avLst/>
                  <a:gdLst>
                    <a:gd name="csX0" fmla="*/ 494822 w 650449"/>
                    <a:gd name="csY0" fmla="*/ 1142655 h 1143805"/>
                    <a:gd name="csX1" fmla="*/ 490575 w 650449"/>
                    <a:gd name="csY1" fmla="*/ 874343 h 1143805"/>
                    <a:gd name="csX2" fmla="*/ 254430 w 650449"/>
                    <a:gd name="csY2" fmla="*/ 874343 h 1143805"/>
                    <a:gd name="csX3" fmla="*/ 157879 w 650449"/>
                    <a:gd name="csY3" fmla="*/ 1141722 h 1143805"/>
                    <a:gd name="csX4" fmla="*/ 0 w 650449"/>
                    <a:gd name="csY4" fmla="*/ 1140376 h 1143805"/>
                    <a:gd name="csX5" fmla="*/ 426657 w 650449"/>
                    <a:gd name="csY5" fmla="*/ 0 h 1143805"/>
                    <a:gd name="csX6" fmla="*/ 622555 w 650449"/>
                    <a:gd name="csY6" fmla="*/ 673 h 1143805"/>
                    <a:gd name="csX7" fmla="*/ 642186 w 650449"/>
                    <a:gd name="csY7" fmla="*/ 728222 h 1143805"/>
                    <a:gd name="csX8" fmla="*/ 644621 w 650449"/>
                    <a:gd name="csY8" fmla="*/ 897600 h 1143805"/>
                    <a:gd name="csX9" fmla="*/ 648661 w 650449"/>
                    <a:gd name="csY9" fmla="*/ 1142033 h 1143805"/>
                    <a:gd name="csX10" fmla="*/ 494822 w 650449"/>
                    <a:gd name="csY10" fmla="*/ 1142655 h 1143805"/>
                    <a:gd name="csX11" fmla="*/ 491663 w 650449"/>
                    <a:gd name="csY11" fmla="*/ 734749 h 1143805"/>
                    <a:gd name="csX12" fmla="*/ 490316 w 650449"/>
                    <a:gd name="csY12" fmla="*/ 457580 h 1143805"/>
                    <a:gd name="csX13" fmla="*/ 485136 w 650449"/>
                    <a:gd name="csY13" fmla="*/ 223455 h 1143805"/>
                    <a:gd name="csX14" fmla="*/ 303534 w 650449"/>
                    <a:gd name="csY14" fmla="*/ 735629 h 1143805"/>
                    <a:gd name="csX15" fmla="*/ 491663 w 650449"/>
                    <a:gd name="csY15" fmla="*/ 734801 h 11438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650449" h="1143805">
                      <a:moveTo>
                        <a:pt x="494822" y="1142655"/>
                      </a:moveTo>
                      <a:lnTo>
                        <a:pt x="490575" y="874343"/>
                      </a:lnTo>
                      <a:lnTo>
                        <a:pt x="254430" y="874343"/>
                      </a:lnTo>
                      <a:cubicBezTo>
                        <a:pt x="254430" y="874343"/>
                        <a:pt x="157879" y="1141722"/>
                        <a:pt x="157879" y="1141722"/>
                      </a:cubicBezTo>
                      <a:cubicBezTo>
                        <a:pt x="105304" y="1143432"/>
                        <a:pt x="54802" y="1145970"/>
                        <a:pt x="0" y="1140376"/>
                      </a:cubicBezTo>
                      <a:lnTo>
                        <a:pt x="426657" y="0"/>
                      </a:lnTo>
                      <a:lnTo>
                        <a:pt x="622555" y="673"/>
                      </a:lnTo>
                      <a:lnTo>
                        <a:pt x="642186" y="728222"/>
                      </a:lnTo>
                      <a:lnTo>
                        <a:pt x="644621" y="897600"/>
                      </a:lnTo>
                      <a:cubicBezTo>
                        <a:pt x="645812" y="980010"/>
                        <a:pt x="653996" y="1059157"/>
                        <a:pt x="648661" y="1142033"/>
                      </a:cubicBezTo>
                      <a:lnTo>
                        <a:pt x="494822" y="1142655"/>
                      </a:lnTo>
                      <a:close/>
                      <a:moveTo>
                        <a:pt x="491663" y="734749"/>
                      </a:moveTo>
                      <a:lnTo>
                        <a:pt x="490316" y="457580"/>
                      </a:lnTo>
                      <a:lnTo>
                        <a:pt x="485136" y="223455"/>
                      </a:lnTo>
                      <a:lnTo>
                        <a:pt x="303534" y="735629"/>
                      </a:lnTo>
                      <a:cubicBezTo>
                        <a:pt x="367400" y="738219"/>
                        <a:pt x="429298" y="740084"/>
                        <a:pt x="491663" y="73480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F88F2398-8D9A-B5A0-9885-8C4821F1A23E}"/>
                    </a:ext>
                  </a:extLst>
                </p:cNvPr>
                <p:cNvSpPr/>
                <p:nvPr/>
              </p:nvSpPr>
              <p:spPr>
                <a:xfrm>
                  <a:off x="-7175101" y="7155869"/>
                  <a:ext cx="488059" cy="1144837"/>
                </a:xfrm>
                <a:custGeom>
                  <a:avLst/>
                  <a:gdLst>
                    <a:gd name="csX0" fmla="*/ 487881 w 488059"/>
                    <a:gd name="csY0" fmla="*/ 996437 h 1144837"/>
                    <a:gd name="csX1" fmla="*/ 465919 w 488059"/>
                    <a:gd name="csY1" fmla="*/ 1144837 h 1144837"/>
                    <a:gd name="csX2" fmla="*/ 0 w 488059"/>
                    <a:gd name="csY2" fmla="*/ 1143387 h 1144837"/>
                    <a:gd name="csX3" fmla="*/ 201078 w 488059"/>
                    <a:gd name="csY3" fmla="*/ 2545 h 1144837"/>
                    <a:gd name="csX4" fmla="*/ 360822 w 488059"/>
                    <a:gd name="csY4" fmla="*/ 2545 h 1144837"/>
                    <a:gd name="csX5" fmla="*/ 187093 w 488059"/>
                    <a:gd name="csY5" fmla="*/ 995453 h 1144837"/>
                    <a:gd name="csX6" fmla="*/ 487830 w 488059"/>
                    <a:gd name="csY6" fmla="*/ 996385 h 114483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88059" h="1144837">
                      <a:moveTo>
                        <a:pt x="487881" y="996437"/>
                      </a:moveTo>
                      <a:cubicBezTo>
                        <a:pt x="489850" y="1047043"/>
                        <a:pt x="475087" y="1092988"/>
                        <a:pt x="465919" y="1144837"/>
                      </a:cubicBezTo>
                      <a:lnTo>
                        <a:pt x="0" y="1143387"/>
                      </a:lnTo>
                      <a:lnTo>
                        <a:pt x="201078" y="2545"/>
                      </a:lnTo>
                      <a:cubicBezTo>
                        <a:pt x="254792" y="-926"/>
                        <a:pt x="307263" y="-770"/>
                        <a:pt x="360822" y="2545"/>
                      </a:cubicBezTo>
                      <a:lnTo>
                        <a:pt x="187093" y="995453"/>
                      </a:lnTo>
                      <a:lnTo>
                        <a:pt x="487830" y="99638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919B779A-5CE1-7987-FE5E-3E8598BD1792}"/>
                    </a:ext>
                  </a:extLst>
                </p:cNvPr>
                <p:cNvSpPr/>
                <p:nvPr/>
              </p:nvSpPr>
              <p:spPr>
                <a:xfrm>
                  <a:off x="-6601235" y="7157015"/>
                  <a:ext cx="217653" cy="389828"/>
                </a:xfrm>
                <a:custGeom>
                  <a:avLst/>
                  <a:gdLst>
                    <a:gd name="csX0" fmla="*/ 61380 w 217653"/>
                    <a:gd name="csY0" fmla="*/ 389829 h 389828"/>
                    <a:gd name="csX1" fmla="*/ 0 w 217653"/>
                    <a:gd name="csY1" fmla="*/ 357714 h 389828"/>
                    <a:gd name="csX2" fmla="*/ 90542 w 217653"/>
                    <a:gd name="csY2" fmla="*/ 189890 h 389828"/>
                    <a:gd name="csX3" fmla="*/ 24915 w 217653"/>
                    <a:gd name="csY3" fmla="*/ 183208 h 389828"/>
                    <a:gd name="csX4" fmla="*/ 56356 w 217653"/>
                    <a:gd name="csY4" fmla="*/ 0 h 389828"/>
                    <a:gd name="csX5" fmla="*/ 217653 w 217653"/>
                    <a:gd name="csY5" fmla="*/ 1243 h 389828"/>
                    <a:gd name="csX6" fmla="*/ 188284 w 217653"/>
                    <a:gd name="csY6" fmla="*/ 158190 h 389828"/>
                    <a:gd name="csX7" fmla="*/ 61380 w 217653"/>
                    <a:gd name="csY7" fmla="*/ 389829 h 38982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217653" h="389828">
                      <a:moveTo>
                        <a:pt x="61380" y="389829"/>
                      </a:moveTo>
                      <a:cubicBezTo>
                        <a:pt x="36310" y="383924"/>
                        <a:pt x="21444" y="371492"/>
                        <a:pt x="0" y="357714"/>
                      </a:cubicBezTo>
                      <a:cubicBezTo>
                        <a:pt x="39884" y="305865"/>
                        <a:pt x="70238" y="253135"/>
                        <a:pt x="90542" y="189890"/>
                      </a:cubicBezTo>
                      <a:lnTo>
                        <a:pt x="24915" y="183208"/>
                      </a:lnTo>
                      <a:lnTo>
                        <a:pt x="56356" y="0"/>
                      </a:lnTo>
                      <a:lnTo>
                        <a:pt x="217653" y="1243"/>
                      </a:lnTo>
                      <a:lnTo>
                        <a:pt x="188284" y="158190"/>
                      </a:lnTo>
                      <a:cubicBezTo>
                        <a:pt x="171916" y="245624"/>
                        <a:pt x="122812" y="320938"/>
                        <a:pt x="61380" y="38982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CAFF9D10-F582-5FE4-5137-DDE474688AA0}"/>
                  </a:ext>
                </a:extLst>
              </p:cNvPr>
              <p:cNvGrpSpPr/>
              <p:nvPr/>
            </p:nvGrpSpPr>
            <p:grpSpPr>
              <a:xfrm>
                <a:off x="4101489" y="2472911"/>
                <a:ext cx="2221394" cy="1101972"/>
                <a:chOff x="-4457913" y="8568712"/>
                <a:chExt cx="4520652" cy="2242570"/>
              </a:xfrm>
              <a:grpFill/>
            </p:grpSpPr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C68CCE31-8163-1DD0-535D-C7CEDF0FD9A5}"/>
                    </a:ext>
                  </a:extLst>
                </p:cNvPr>
                <p:cNvSpPr/>
                <p:nvPr/>
              </p:nvSpPr>
              <p:spPr>
                <a:xfrm>
                  <a:off x="-2640993" y="8568712"/>
                  <a:ext cx="372832" cy="626840"/>
                </a:xfrm>
                <a:custGeom>
                  <a:avLst/>
                  <a:gdLst>
                    <a:gd name="csX0" fmla="*/ 44178 w 372832"/>
                    <a:gd name="csY0" fmla="*/ 617785 h 626840"/>
                    <a:gd name="csX1" fmla="*/ 719 w 372832"/>
                    <a:gd name="csY1" fmla="*/ 544802 h 626840"/>
                    <a:gd name="csX2" fmla="*/ 52879 w 372832"/>
                    <a:gd name="csY2" fmla="*/ 211122 h 626840"/>
                    <a:gd name="csX3" fmla="*/ 135497 w 372832"/>
                    <a:gd name="csY3" fmla="*/ 135601 h 626840"/>
                    <a:gd name="csX4" fmla="*/ 286331 w 372832"/>
                    <a:gd name="csY4" fmla="*/ 173154 h 626840"/>
                    <a:gd name="csX5" fmla="*/ 317462 w 372832"/>
                    <a:gd name="csY5" fmla="*/ 10199 h 626840"/>
                    <a:gd name="csX6" fmla="*/ 372833 w 372832"/>
                    <a:gd name="csY6" fmla="*/ 8334 h 626840"/>
                    <a:gd name="csX7" fmla="*/ 276127 w 372832"/>
                    <a:gd name="csY7" fmla="*/ 610688 h 626840"/>
                    <a:gd name="csX8" fmla="*/ 228629 w 372832"/>
                    <a:gd name="csY8" fmla="*/ 613848 h 626840"/>
                    <a:gd name="csX9" fmla="*/ 226660 w 372832"/>
                    <a:gd name="csY9" fmla="*/ 583443 h 626840"/>
                    <a:gd name="csX10" fmla="*/ 44178 w 372832"/>
                    <a:gd name="csY10" fmla="*/ 617681 h 626840"/>
                    <a:gd name="csX11" fmla="*/ 234171 w 372832"/>
                    <a:gd name="csY11" fmla="*/ 512221 h 626840"/>
                    <a:gd name="csX12" fmla="*/ 277267 w 372832"/>
                    <a:gd name="csY12" fmla="*/ 240284 h 626840"/>
                    <a:gd name="csX13" fmla="*/ 251212 w 372832"/>
                    <a:gd name="csY13" fmla="*/ 192164 h 626840"/>
                    <a:gd name="csX14" fmla="*/ 109598 w 372832"/>
                    <a:gd name="csY14" fmla="*/ 223294 h 626840"/>
                    <a:gd name="csX15" fmla="*/ 60960 w 372832"/>
                    <a:gd name="csY15" fmla="*/ 532163 h 626840"/>
                    <a:gd name="csX16" fmla="*/ 68471 w 372832"/>
                    <a:gd name="csY16" fmla="*/ 561843 h 626840"/>
                    <a:gd name="csX17" fmla="*/ 94784 w 372832"/>
                    <a:gd name="csY17" fmla="*/ 571840 h 626840"/>
                    <a:gd name="csX18" fmla="*/ 234171 w 372832"/>
                    <a:gd name="csY18" fmla="*/ 512169 h 62684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72832" h="626840">
                      <a:moveTo>
                        <a:pt x="44178" y="617785"/>
                      </a:moveTo>
                      <a:cubicBezTo>
                        <a:pt x="14912" y="609238"/>
                        <a:pt x="-3994" y="574844"/>
                        <a:pt x="719" y="544802"/>
                      </a:cubicBezTo>
                      <a:lnTo>
                        <a:pt x="52879" y="211122"/>
                      </a:lnTo>
                      <a:cubicBezTo>
                        <a:pt x="59717" y="167508"/>
                        <a:pt x="93644" y="137362"/>
                        <a:pt x="135497" y="135601"/>
                      </a:cubicBezTo>
                      <a:cubicBezTo>
                        <a:pt x="190402" y="133322"/>
                        <a:pt x="261365" y="123894"/>
                        <a:pt x="286331" y="173154"/>
                      </a:cubicBezTo>
                      <a:lnTo>
                        <a:pt x="317462" y="10199"/>
                      </a:lnTo>
                      <a:cubicBezTo>
                        <a:pt x="320466" y="-5600"/>
                        <a:pt x="357916" y="-471"/>
                        <a:pt x="372833" y="8334"/>
                      </a:cubicBezTo>
                      <a:lnTo>
                        <a:pt x="276127" y="610688"/>
                      </a:lnTo>
                      <a:cubicBezTo>
                        <a:pt x="273848" y="624777"/>
                        <a:pt x="236036" y="622757"/>
                        <a:pt x="228629" y="613848"/>
                      </a:cubicBezTo>
                      <a:cubicBezTo>
                        <a:pt x="223190" y="607321"/>
                        <a:pt x="225469" y="593129"/>
                        <a:pt x="226660" y="583443"/>
                      </a:cubicBezTo>
                      <a:cubicBezTo>
                        <a:pt x="204129" y="634826"/>
                        <a:pt x="94318" y="632340"/>
                        <a:pt x="44178" y="617681"/>
                      </a:cubicBezTo>
                      <a:close/>
                      <a:moveTo>
                        <a:pt x="234171" y="512221"/>
                      </a:moveTo>
                      <a:lnTo>
                        <a:pt x="277267" y="240284"/>
                      </a:lnTo>
                      <a:cubicBezTo>
                        <a:pt x="280219" y="221637"/>
                        <a:pt x="269911" y="197240"/>
                        <a:pt x="251212" y="192164"/>
                      </a:cubicBezTo>
                      <a:cubicBezTo>
                        <a:pt x="220496" y="183772"/>
                        <a:pt x="117885" y="170823"/>
                        <a:pt x="109598" y="223294"/>
                      </a:cubicBezTo>
                      <a:lnTo>
                        <a:pt x="60960" y="532163"/>
                      </a:lnTo>
                      <a:cubicBezTo>
                        <a:pt x="59199" y="543351"/>
                        <a:pt x="63809" y="555265"/>
                        <a:pt x="68471" y="561843"/>
                      </a:cubicBezTo>
                      <a:cubicBezTo>
                        <a:pt x="73132" y="568421"/>
                        <a:pt x="83595" y="571581"/>
                        <a:pt x="94784" y="571840"/>
                      </a:cubicBezTo>
                      <a:cubicBezTo>
                        <a:pt x="148964" y="573238"/>
                        <a:pt x="222931" y="583080"/>
                        <a:pt x="234171" y="51216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63FECDD6-3B33-B216-3AA7-98FE27A56B92}"/>
                    </a:ext>
                  </a:extLst>
                </p:cNvPr>
                <p:cNvSpPr/>
                <p:nvPr/>
              </p:nvSpPr>
              <p:spPr>
                <a:xfrm>
                  <a:off x="-3382823" y="8701870"/>
                  <a:ext cx="334033" cy="493675"/>
                </a:xfrm>
                <a:custGeom>
                  <a:avLst/>
                  <a:gdLst>
                    <a:gd name="csX0" fmla="*/ 94406 w 334033"/>
                    <a:gd name="csY0" fmla="*/ 438164 h 493675"/>
                    <a:gd name="csX1" fmla="*/ 233379 w 334033"/>
                    <a:gd name="csY1" fmla="*/ 385330 h 493675"/>
                    <a:gd name="csX2" fmla="*/ 246639 w 334033"/>
                    <a:gd name="csY2" fmla="*/ 341872 h 493675"/>
                    <a:gd name="csX3" fmla="*/ 290615 w 334033"/>
                    <a:gd name="csY3" fmla="*/ 351403 h 493675"/>
                    <a:gd name="csX4" fmla="*/ 207687 w 334033"/>
                    <a:gd name="csY4" fmla="*/ 487268 h 493675"/>
                    <a:gd name="csX5" fmla="*/ 69129 w 334033"/>
                    <a:gd name="csY5" fmla="*/ 489650 h 493675"/>
                    <a:gd name="csX6" fmla="*/ 963 w 334033"/>
                    <a:gd name="csY6" fmla="*/ 398383 h 493675"/>
                    <a:gd name="csX7" fmla="*/ 52864 w 334033"/>
                    <a:gd name="csY7" fmla="*/ 79154 h 493675"/>
                    <a:gd name="csX8" fmla="*/ 258967 w 334033"/>
                    <a:gd name="csY8" fmla="*/ 2131 h 493675"/>
                    <a:gd name="csX9" fmla="*/ 333970 w 334033"/>
                    <a:gd name="csY9" fmla="*/ 83816 h 493675"/>
                    <a:gd name="csX10" fmla="*/ 312888 w 334033"/>
                    <a:gd name="csY10" fmla="*/ 242265 h 493675"/>
                    <a:gd name="csX11" fmla="*/ 279479 w 334033"/>
                    <a:gd name="csY11" fmla="*/ 268112 h 493675"/>
                    <a:gd name="csX12" fmla="*/ 79281 w 334033"/>
                    <a:gd name="csY12" fmla="*/ 268526 h 493675"/>
                    <a:gd name="csX13" fmla="*/ 59391 w 334033"/>
                    <a:gd name="csY13" fmla="*/ 399730 h 493675"/>
                    <a:gd name="csX14" fmla="*/ 94354 w 334033"/>
                    <a:gd name="csY14" fmla="*/ 438164 h 493675"/>
                    <a:gd name="csX15" fmla="*/ 260780 w 334033"/>
                    <a:gd name="csY15" fmla="*/ 215434 h 493675"/>
                    <a:gd name="csX16" fmla="*/ 277821 w 334033"/>
                    <a:gd name="csY16" fmla="*/ 100547 h 493675"/>
                    <a:gd name="csX17" fmla="*/ 136000 w 334033"/>
                    <a:gd name="csY17" fmla="*/ 60404 h 493675"/>
                    <a:gd name="csX18" fmla="*/ 88190 w 334033"/>
                    <a:gd name="csY18" fmla="*/ 216625 h 493675"/>
                    <a:gd name="csX19" fmla="*/ 260832 w 334033"/>
                    <a:gd name="csY19" fmla="*/ 215434 h 49367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4033" h="493675">
                      <a:moveTo>
                        <a:pt x="94406" y="438164"/>
                      </a:moveTo>
                      <a:cubicBezTo>
                        <a:pt x="152989" y="436972"/>
                        <a:pt x="220430" y="456552"/>
                        <a:pt x="233379" y="385330"/>
                      </a:cubicBezTo>
                      <a:cubicBezTo>
                        <a:pt x="235813" y="371863"/>
                        <a:pt x="234881" y="351040"/>
                        <a:pt x="246639" y="341872"/>
                      </a:cubicBezTo>
                      <a:cubicBezTo>
                        <a:pt x="255445" y="335138"/>
                        <a:pt x="283519" y="341561"/>
                        <a:pt x="290615" y="351403"/>
                      </a:cubicBezTo>
                      <a:cubicBezTo>
                        <a:pt x="289165" y="408380"/>
                        <a:pt x="274713" y="474681"/>
                        <a:pt x="207687" y="487268"/>
                      </a:cubicBezTo>
                      <a:cubicBezTo>
                        <a:pt x="161484" y="495970"/>
                        <a:pt x="115798" y="494830"/>
                        <a:pt x="69129" y="489650"/>
                      </a:cubicBezTo>
                      <a:cubicBezTo>
                        <a:pt x="22459" y="484471"/>
                        <a:pt x="-5667" y="445778"/>
                        <a:pt x="963" y="398383"/>
                      </a:cubicBezTo>
                      <a:cubicBezTo>
                        <a:pt x="16088" y="290851"/>
                        <a:pt x="31575" y="185029"/>
                        <a:pt x="52864" y="79154"/>
                      </a:cubicBezTo>
                      <a:cubicBezTo>
                        <a:pt x="71615" y="-14133"/>
                        <a:pt x="175883" y="-303"/>
                        <a:pt x="258967" y="2131"/>
                      </a:cubicBezTo>
                      <a:cubicBezTo>
                        <a:pt x="302632" y="3426"/>
                        <a:pt x="335679" y="37924"/>
                        <a:pt x="333970" y="83816"/>
                      </a:cubicBezTo>
                      <a:cubicBezTo>
                        <a:pt x="332001" y="136961"/>
                        <a:pt x="317757" y="188810"/>
                        <a:pt x="312888" y="242265"/>
                      </a:cubicBezTo>
                      <a:cubicBezTo>
                        <a:pt x="311127" y="261430"/>
                        <a:pt x="297297" y="268060"/>
                        <a:pt x="279479" y="268112"/>
                      </a:cubicBezTo>
                      <a:lnTo>
                        <a:pt x="79281" y="268526"/>
                      </a:lnTo>
                      <a:cubicBezTo>
                        <a:pt x="71408" y="313590"/>
                        <a:pt x="64726" y="355391"/>
                        <a:pt x="59391" y="399730"/>
                      </a:cubicBezTo>
                      <a:cubicBezTo>
                        <a:pt x="56853" y="420760"/>
                        <a:pt x="73946" y="437024"/>
                        <a:pt x="94354" y="438164"/>
                      </a:cubicBezTo>
                      <a:close/>
                      <a:moveTo>
                        <a:pt x="260780" y="215434"/>
                      </a:moveTo>
                      <a:lnTo>
                        <a:pt x="277821" y="100547"/>
                      </a:lnTo>
                      <a:cubicBezTo>
                        <a:pt x="293205" y="33003"/>
                        <a:pt x="166249" y="51339"/>
                        <a:pt x="136000" y="60404"/>
                      </a:cubicBezTo>
                      <a:cubicBezTo>
                        <a:pt x="96167" y="72317"/>
                        <a:pt x="96322" y="172338"/>
                        <a:pt x="88190" y="216625"/>
                      </a:cubicBezTo>
                      <a:lnTo>
                        <a:pt x="260832" y="2154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65F1C810-7679-8586-2356-0F9A2F6C25A2}"/>
                    </a:ext>
                  </a:extLst>
                </p:cNvPr>
                <p:cNvSpPr/>
                <p:nvPr/>
              </p:nvSpPr>
              <p:spPr>
                <a:xfrm>
                  <a:off x="-2262253" y="8703334"/>
                  <a:ext cx="333697" cy="492222"/>
                </a:xfrm>
                <a:custGeom>
                  <a:avLst/>
                  <a:gdLst>
                    <a:gd name="csX0" fmla="*/ 183413 w 333697"/>
                    <a:gd name="csY0" fmla="*/ 436130 h 492222"/>
                    <a:gd name="csX1" fmla="*/ 291566 w 333697"/>
                    <a:gd name="csY1" fmla="*/ 349265 h 492222"/>
                    <a:gd name="csX2" fmla="*/ 204028 w 333697"/>
                    <a:gd name="csY2" fmla="*/ 486892 h 492222"/>
                    <a:gd name="csX3" fmla="*/ 71064 w 333697"/>
                    <a:gd name="csY3" fmla="*/ 488446 h 492222"/>
                    <a:gd name="csX4" fmla="*/ 1137 w 333697"/>
                    <a:gd name="csY4" fmla="*/ 397386 h 492222"/>
                    <a:gd name="csX5" fmla="*/ 52468 w 333697"/>
                    <a:gd name="csY5" fmla="*/ 81265 h 492222"/>
                    <a:gd name="csX6" fmla="*/ 148864 w 333697"/>
                    <a:gd name="csY6" fmla="*/ 875 h 492222"/>
                    <a:gd name="csX7" fmla="*/ 260591 w 333697"/>
                    <a:gd name="csY7" fmla="*/ 875 h 492222"/>
                    <a:gd name="csX8" fmla="*/ 333418 w 333697"/>
                    <a:gd name="csY8" fmla="*/ 87740 h 492222"/>
                    <a:gd name="csX9" fmla="*/ 310265 w 333697"/>
                    <a:gd name="csY9" fmla="*/ 249918 h 492222"/>
                    <a:gd name="csX10" fmla="*/ 287422 w 333697"/>
                    <a:gd name="csY10" fmla="*/ 266234 h 492222"/>
                    <a:gd name="csX11" fmla="*/ 80957 w 333697"/>
                    <a:gd name="csY11" fmla="*/ 267218 h 492222"/>
                    <a:gd name="csX12" fmla="*/ 96600 w 333697"/>
                    <a:gd name="csY12" fmla="*/ 436752 h 492222"/>
                    <a:gd name="csX13" fmla="*/ 183465 w 333697"/>
                    <a:gd name="csY13" fmla="*/ 436130 h 492222"/>
                    <a:gd name="csX14" fmla="*/ 260021 w 333697"/>
                    <a:gd name="csY14" fmla="*/ 214074 h 492222"/>
                    <a:gd name="csX15" fmla="*/ 277995 w 333697"/>
                    <a:gd name="csY15" fmla="*/ 97322 h 492222"/>
                    <a:gd name="csX16" fmla="*/ 244223 w 333697"/>
                    <a:gd name="csY16" fmla="*/ 53294 h 492222"/>
                    <a:gd name="csX17" fmla="*/ 104629 w 333697"/>
                    <a:gd name="csY17" fmla="*/ 106594 h 492222"/>
                    <a:gd name="csX18" fmla="*/ 88520 w 333697"/>
                    <a:gd name="csY18" fmla="*/ 215524 h 492222"/>
                    <a:gd name="csX19" fmla="*/ 260021 w 333697"/>
                    <a:gd name="csY19" fmla="*/ 214074 h 49222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697" h="492222">
                      <a:moveTo>
                        <a:pt x="183413" y="436130"/>
                      </a:moveTo>
                      <a:cubicBezTo>
                        <a:pt x="269293" y="427066"/>
                        <a:pt x="199418" y="298297"/>
                        <a:pt x="291566" y="349265"/>
                      </a:cubicBezTo>
                      <a:cubicBezTo>
                        <a:pt x="290323" y="409610"/>
                        <a:pt x="274525" y="475600"/>
                        <a:pt x="204028" y="486892"/>
                      </a:cubicBezTo>
                      <a:cubicBezTo>
                        <a:pt x="159586" y="493988"/>
                        <a:pt x="115765" y="493470"/>
                        <a:pt x="71064" y="488446"/>
                      </a:cubicBezTo>
                      <a:cubicBezTo>
                        <a:pt x="26363" y="483421"/>
                        <a:pt x="-6632" y="445143"/>
                        <a:pt x="1137" y="397386"/>
                      </a:cubicBezTo>
                      <a:lnTo>
                        <a:pt x="52468" y="81265"/>
                      </a:lnTo>
                      <a:cubicBezTo>
                        <a:pt x="60394" y="32316"/>
                        <a:pt x="101935" y="2222"/>
                        <a:pt x="148864" y="875"/>
                      </a:cubicBezTo>
                      <a:cubicBezTo>
                        <a:pt x="186883" y="-213"/>
                        <a:pt x="223038" y="-368"/>
                        <a:pt x="260591" y="875"/>
                      </a:cubicBezTo>
                      <a:cubicBezTo>
                        <a:pt x="307779" y="2377"/>
                        <a:pt x="336889" y="40138"/>
                        <a:pt x="333418" y="87740"/>
                      </a:cubicBezTo>
                      <a:cubicBezTo>
                        <a:pt x="329378" y="142800"/>
                        <a:pt x="319951" y="195893"/>
                        <a:pt x="310265" y="249918"/>
                      </a:cubicBezTo>
                      <a:cubicBezTo>
                        <a:pt x="308556" y="259552"/>
                        <a:pt x="296539" y="266182"/>
                        <a:pt x="287422" y="266234"/>
                      </a:cubicBezTo>
                      <a:lnTo>
                        <a:pt x="80957" y="267218"/>
                      </a:lnTo>
                      <a:cubicBezTo>
                        <a:pt x="77228" y="318860"/>
                        <a:pt x="28538" y="434162"/>
                        <a:pt x="96600" y="436752"/>
                      </a:cubicBezTo>
                      <a:cubicBezTo>
                        <a:pt x="124364" y="437788"/>
                        <a:pt x="152075" y="439445"/>
                        <a:pt x="183465" y="436130"/>
                      </a:cubicBezTo>
                      <a:close/>
                      <a:moveTo>
                        <a:pt x="260021" y="214074"/>
                      </a:moveTo>
                      <a:lnTo>
                        <a:pt x="277995" y="97322"/>
                      </a:lnTo>
                      <a:cubicBezTo>
                        <a:pt x="281621" y="74324"/>
                        <a:pt x="267998" y="55263"/>
                        <a:pt x="244223" y="53294"/>
                      </a:cubicBezTo>
                      <a:cubicBezTo>
                        <a:pt x="183983" y="48270"/>
                        <a:pt x="115506" y="39775"/>
                        <a:pt x="104629" y="106594"/>
                      </a:cubicBezTo>
                      <a:cubicBezTo>
                        <a:pt x="98413" y="144717"/>
                        <a:pt x="92301" y="178541"/>
                        <a:pt x="88520" y="215524"/>
                      </a:cubicBezTo>
                      <a:lnTo>
                        <a:pt x="260021" y="21407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3502C98C-A2D1-EA04-4991-8B3B67035BC2}"/>
                    </a:ext>
                  </a:extLst>
                </p:cNvPr>
                <p:cNvSpPr/>
                <p:nvPr/>
              </p:nvSpPr>
              <p:spPr>
                <a:xfrm>
                  <a:off x="-1004577" y="8703846"/>
                  <a:ext cx="335934" cy="492507"/>
                </a:xfrm>
                <a:custGeom>
                  <a:avLst/>
                  <a:gdLst>
                    <a:gd name="csX0" fmla="*/ 286407 w 335934"/>
                    <a:gd name="csY0" fmla="*/ 405006 h 492507"/>
                    <a:gd name="csX1" fmla="*/ 74192 w 335934"/>
                    <a:gd name="csY1" fmla="*/ 488556 h 492507"/>
                    <a:gd name="csX2" fmla="*/ 1210 w 335934"/>
                    <a:gd name="csY2" fmla="*/ 396407 h 492507"/>
                    <a:gd name="csX3" fmla="*/ 51660 w 335934"/>
                    <a:gd name="csY3" fmla="*/ 82721 h 492507"/>
                    <a:gd name="csX4" fmla="*/ 146864 w 335934"/>
                    <a:gd name="csY4" fmla="*/ 415 h 492507"/>
                    <a:gd name="csX5" fmla="*/ 259472 w 335934"/>
                    <a:gd name="csY5" fmla="*/ 1 h 492507"/>
                    <a:gd name="csX6" fmla="*/ 318418 w 335934"/>
                    <a:gd name="csY6" fmla="*/ 26469 h 492507"/>
                    <a:gd name="csX7" fmla="*/ 334734 w 335934"/>
                    <a:gd name="csY7" fmla="*/ 100333 h 492507"/>
                    <a:gd name="csX8" fmla="*/ 286407 w 335934"/>
                    <a:gd name="csY8" fmla="*/ 405058 h 492507"/>
                    <a:gd name="csX9" fmla="*/ 231813 w 335934"/>
                    <a:gd name="csY9" fmla="*/ 388483 h 492507"/>
                    <a:gd name="csX10" fmla="*/ 278896 w 335934"/>
                    <a:gd name="csY10" fmla="*/ 94065 h 492507"/>
                    <a:gd name="csX11" fmla="*/ 247404 w 335934"/>
                    <a:gd name="csY11" fmla="*/ 52990 h 492507"/>
                    <a:gd name="csX12" fmla="*/ 105219 w 335934"/>
                    <a:gd name="csY12" fmla="*/ 102922 h 492507"/>
                    <a:gd name="csX13" fmla="*/ 60207 w 335934"/>
                    <a:gd name="csY13" fmla="*/ 395216 h 492507"/>
                    <a:gd name="csX14" fmla="*/ 100609 w 335934"/>
                    <a:gd name="csY14" fmla="*/ 436861 h 492507"/>
                    <a:gd name="csX15" fmla="*/ 231813 w 335934"/>
                    <a:gd name="csY15" fmla="*/ 388431 h 49250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35934" h="492507">
                      <a:moveTo>
                        <a:pt x="286407" y="405006"/>
                      </a:moveTo>
                      <a:cubicBezTo>
                        <a:pt x="268589" y="503577"/>
                        <a:pt x="158208" y="495963"/>
                        <a:pt x="74192" y="488556"/>
                      </a:cubicBezTo>
                      <a:cubicBezTo>
                        <a:pt x="26901" y="484411"/>
                        <a:pt x="-6923" y="446651"/>
                        <a:pt x="1210" y="396407"/>
                      </a:cubicBezTo>
                      <a:lnTo>
                        <a:pt x="51660" y="82721"/>
                      </a:lnTo>
                      <a:cubicBezTo>
                        <a:pt x="59637" y="33099"/>
                        <a:pt x="98589" y="622"/>
                        <a:pt x="146864" y="415"/>
                      </a:cubicBezTo>
                      <a:lnTo>
                        <a:pt x="259472" y="1"/>
                      </a:lnTo>
                      <a:cubicBezTo>
                        <a:pt x="284284" y="-103"/>
                        <a:pt x="305935" y="11655"/>
                        <a:pt x="318418" y="26469"/>
                      </a:cubicBezTo>
                      <a:cubicBezTo>
                        <a:pt x="334734" y="45790"/>
                        <a:pt x="338152" y="73346"/>
                        <a:pt x="334734" y="100333"/>
                      </a:cubicBezTo>
                      <a:cubicBezTo>
                        <a:pt x="321733" y="203410"/>
                        <a:pt x="304743" y="303534"/>
                        <a:pt x="286407" y="405058"/>
                      </a:cubicBezTo>
                      <a:close/>
                      <a:moveTo>
                        <a:pt x="231813" y="388483"/>
                      </a:moveTo>
                      <a:lnTo>
                        <a:pt x="278896" y="94065"/>
                      </a:lnTo>
                      <a:cubicBezTo>
                        <a:pt x="277084" y="72414"/>
                        <a:pt x="269003" y="55994"/>
                        <a:pt x="247404" y="52990"/>
                      </a:cubicBezTo>
                      <a:cubicBezTo>
                        <a:pt x="193586" y="50762"/>
                        <a:pt x="115682" y="35171"/>
                        <a:pt x="105219" y="102922"/>
                      </a:cubicBezTo>
                      <a:lnTo>
                        <a:pt x="60207" y="395216"/>
                      </a:lnTo>
                      <a:cubicBezTo>
                        <a:pt x="56426" y="419872"/>
                        <a:pt x="77870" y="437017"/>
                        <a:pt x="100609" y="436861"/>
                      </a:cubicBezTo>
                      <a:cubicBezTo>
                        <a:pt x="152614" y="436447"/>
                        <a:pt x="221919" y="450381"/>
                        <a:pt x="231813" y="38843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E7EFBE80-FF77-4A02-E4D7-078178157527}"/>
                    </a:ext>
                  </a:extLst>
                </p:cNvPr>
                <p:cNvSpPr/>
                <p:nvPr/>
              </p:nvSpPr>
              <p:spPr>
                <a:xfrm>
                  <a:off x="-264032" y="8702088"/>
                  <a:ext cx="326771" cy="494430"/>
                </a:xfrm>
                <a:custGeom>
                  <a:avLst/>
                  <a:gdLst>
                    <a:gd name="csX0" fmla="*/ 280508 w 326771"/>
                    <a:gd name="csY0" fmla="*/ 423390 h 494430"/>
                    <a:gd name="csX1" fmla="*/ 70106 w 326771"/>
                    <a:gd name="csY1" fmla="*/ 489536 h 494430"/>
                    <a:gd name="csX2" fmla="*/ 386 w 326771"/>
                    <a:gd name="csY2" fmla="*/ 418003 h 494430"/>
                    <a:gd name="csX3" fmla="*/ 13698 w 326771"/>
                    <a:gd name="csY3" fmla="*/ 335853 h 494430"/>
                    <a:gd name="csX4" fmla="*/ 57933 w 326771"/>
                    <a:gd name="csY4" fmla="*/ 329637 h 494430"/>
                    <a:gd name="csX5" fmla="*/ 62388 w 326771"/>
                    <a:gd name="csY5" fmla="*/ 421785 h 494430"/>
                    <a:gd name="csX6" fmla="*/ 96211 w 326771"/>
                    <a:gd name="csY6" fmla="*/ 438360 h 494430"/>
                    <a:gd name="csX7" fmla="*/ 226690 w 326771"/>
                    <a:gd name="csY7" fmla="*/ 403500 h 494430"/>
                    <a:gd name="csX8" fmla="*/ 209545 w 326771"/>
                    <a:gd name="csY8" fmla="*/ 268619 h 494430"/>
                    <a:gd name="csX9" fmla="*/ 115739 w 326771"/>
                    <a:gd name="csY9" fmla="*/ 267013 h 494430"/>
                    <a:gd name="csX10" fmla="*/ 40425 w 326771"/>
                    <a:gd name="csY10" fmla="*/ 176989 h 494430"/>
                    <a:gd name="csX11" fmla="*/ 149563 w 326771"/>
                    <a:gd name="csY11" fmla="*/ 2380 h 494430"/>
                    <a:gd name="csX12" fmla="*/ 324380 w 326771"/>
                    <a:gd name="csY12" fmla="*/ 63345 h 494430"/>
                    <a:gd name="csX13" fmla="*/ 316403 w 326771"/>
                    <a:gd name="csY13" fmla="*/ 144253 h 494430"/>
                    <a:gd name="csX14" fmla="*/ 272790 w 326771"/>
                    <a:gd name="csY14" fmla="*/ 152852 h 494430"/>
                    <a:gd name="csX15" fmla="*/ 247409 w 326771"/>
                    <a:gd name="csY15" fmla="*/ 57233 h 494430"/>
                    <a:gd name="csX16" fmla="*/ 158472 w 326771"/>
                    <a:gd name="csY16" fmla="*/ 54643 h 494430"/>
                    <a:gd name="csX17" fmla="*/ 98491 w 326771"/>
                    <a:gd name="csY17" fmla="*/ 170877 h 494430"/>
                    <a:gd name="csX18" fmla="*/ 140758 w 326771"/>
                    <a:gd name="csY18" fmla="*/ 216563 h 494430"/>
                    <a:gd name="csX19" fmla="*/ 235858 w 326771"/>
                    <a:gd name="csY19" fmla="*/ 217650 h 494430"/>
                    <a:gd name="csX20" fmla="*/ 301175 w 326771"/>
                    <a:gd name="csY20" fmla="*/ 304411 h 494430"/>
                    <a:gd name="csX21" fmla="*/ 280508 w 326771"/>
                    <a:gd name="csY21" fmla="*/ 423390 h 4944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26771" h="494430">
                      <a:moveTo>
                        <a:pt x="280508" y="423390"/>
                      </a:moveTo>
                      <a:cubicBezTo>
                        <a:pt x="257665" y="505541"/>
                        <a:pt x="141897" y="497823"/>
                        <a:pt x="70106" y="489536"/>
                      </a:cubicBezTo>
                      <a:cubicBezTo>
                        <a:pt x="32190" y="485133"/>
                        <a:pt x="2976" y="457939"/>
                        <a:pt x="386" y="418003"/>
                      </a:cubicBezTo>
                      <a:cubicBezTo>
                        <a:pt x="-1323" y="391638"/>
                        <a:pt x="2562" y="358488"/>
                        <a:pt x="13698" y="335853"/>
                      </a:cubicBezTo>
                      <a:cubicBezTo>
                        <a:pt x="20587" y="327099"/>
                        <a:pt x="50371" y="321712"/>
                        <a:pt x="57933" y="329637"/>
                      </a:cubicBezTo>
                      <a:cubicBezTo>
                        <a:pt x="75492" y="353153"/>
                        <a:pt x="44984" y="392830"/>
                        <a:pt x="62388" y="421785"/>
                      </a:cubicBezTo>
                      <a:cubicBezTo>
                        <a:pt x="67878" y="430849"/>
                        <a:pt x="81087" y="437945"/>
                        <a:pt x="96211" y="438360"/>
                      </a:cubicBezTo>
                      <a:cubicBezTo>
                        <a:pt x="141586" y="439707"/>
                        <a:pt x="213585" y="448719"/>
                        <a:pt x="226690" y="403500"/>
                      </a:cubicBezTo>
                      <a:cubicBezTo>
                        <a:pt x="237101" y="367604"/>
                        <a:pt x="264813" y="269603"/>
                        <a:pt x="209545" y="268619"/>
                      </a:cubicBezTo>
                      <a:lnTo>
                        <a:pt x="115739" y="267013"/>
                      </a:lnTo>
                      <a:cubicBezTo>
                        <a:pt x="66998" y="266185"/>
                        <a:pt x="35194" y="225731"/>
                        <a:pt x="40425" y="176989"/>
                      </a:cubicBezTo>
                      <a:cubicBezTo>
                        <a:pt x="48454" y="101624"/>
                        <a:pt x="55084" y="5073"/>
                        <a:pt x="149563" y="2380"/>
                      </a:cubicBezTo>
                      <a:cubicBezTo>
                        <a:pt x="215398" y="515"/>
                        <a:pt x="315160" y="-14558"/>
                        <a:pt x="324380" y="63345"/>
                      </a:cubicBezTo>
                      <a:cubicBezTo>
                        <a:pt x="327540" y="90177"/>
                        <a:pt x="329715" y="119598"/>
                        <a:pt x="316403" y="144253"/>
                      </a:cubicBezTo>
                      <a:cubicBezTo>
                        <a:pt x="310602" y="154975"/>
                        <a:pt x="282113" y="159326"/>
                        <a:pt x="272790" y="152852"/>
                      </a:cubicBezTo>
                      <a:cubicBezTo>
                        <a:pt x="250051" y="137157"/>
                        <a:pt x="297238" y="70442"/>
                        <a:pt x="247409" y="57233"/>
                      </a:cubicBezTo>
                      <a:cubicBezTo>
                        <a:pt x="218195" y="49463"/>
                        <a:pt x="188048" y="51380"/>
                        <a:pt x="158472" y="54643"/>
                      </a:cubicBezTo>
                      <a:cubicBezTo>
                        <a:pt x="108333" y="60237"/>
                        <a:pt x="103463" y="119183"/>
                        <a:pt x="98491" y="170877"/>
                      </a:cubicBezTo>
                      <a:cubicBezTo>
                        <a:pt x="95901" y="197812"/>
                        <a:pt x="114652" y="216252"/>
                        <a:pt x="140758" y="216563"/>
                      </a:cubicBezTo>
                      <a:lnTo>
                        <a:pt x="235858" y="217650"/>
                      </a:lnTo>
                      <a:cubicBezTo>
                        <a:pt x="279731" y="218168"/>
                        <a:pt x="304334" y="261419"/>
                        <a:pt x="301175" y="304411"/>
                      </a:cubicBezTo>
                      <a:cubicBezTo>
                        <a:pt x="298170" y="345435"/>
                        <a:pt x="291333" y="384490"/>
                        <a:pt x="280508" y="42339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A36A74E9-700D-D3E5-FA16-2632E9B4CC45}"/>
                    </a:ext>
                  </a:extLst>
                </p:cNvPr>
                <p:cNvSpPr/>
                <p:nvPr/>
              </p:nvSpPr>
              <p:spPr>
                <a:xfrm>
                  <a:off x="-631790" y="8705371"/>
                  <a:ext cx="346751" cy="489953"/>
                </a:xfrm>
                <a:custGeom>
                  <a:avLst/>
                  <a:gdLst>
                    <a:gd name="csX0" fmla="*/ 346752 w 346751"/>
                    <a:gd name="csY0" fmla="*/ 8369 h 489953"/>
                    <a:gd name="csX1" fmla="*/ 272526 w 346751"/>
                    <a:gd name="csY1" fmla="*/ 471646 h 489953"/>
                    <a:gd name="csX2" fmla="*/ 225183 w 346751"/>
                    <a:gd name="csY2" fmla="*/ 477189 h 489953"/>
                    <a:gd name="csX3" fmla="*/ 220107 w 346751"/>
                    <a:gd name="csY3" fmla="*/ 446473 h 489953"/>
                    <a:gd name="csX4" fmla="*/ 57670 w 346751"/>
                    <a:gd name="csY4" fmla="*/ 485321 h 489953"/>
                    <a:gd name="csX5" fmla="*/ 692 w 346751"/>
                    <a:gd name="csY5" fmla="*/ 413581 h 489953"/>
                    <a:gd name="csX6" fmla="*/ 63108 w 346751"/>
                    <a:gd name="csY6" fmla="*/ 12461 h 489953"/>
                    <a:gd name="csX7" fmla="*/ 119361 w 346751"/>
                    <a:gd name="csY7" fmla="*/ 11217 h 489953"/>
                    <a:gd name="csX8" fmla="*/ 59948 w 346751"/>
                    <a:gd name="csY8" fmla="*/ 400943 h 489953"/>
                    <a:gd name="csX9" fmla="*/ 89059 w 346751"/>
                    <a:gd name="csY9" fmla="*/ 434714 h 489953"/>
                    <a:gd name="csX10" fmla="*/ 229689 w 346751"/>
                    <a:gd name="csY10" fmla="*/ 376442 h 489953"/>
                    <a:gd name="csX11" fmla="*/ 289878 w 346751"/>
                    <a:gd name="csY11" fmla="*/ 11994 h 489953"/>
                    <a:gd name="csX12" fmla="*/ 346752 w 346751"/>
                    <a:gd name="csY12" fmla="*/ 8317 h 48995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6751" h="489953">
                      <a:moveTo>
                        <a:pt x="346752" y="8369"/>
                      </a:moveTo>
                      <a:lnTo>
                        <a:pt x="272526" y="471646"/>
                      </a:lnTo>
                      <a:cubicBezTo>
                        <a:pt x="269884" y="488170"/>
                        <a:pt x="227047" y="488273"/>
                        <a:pt x="225183" y="477189"/>
                      </a:cubicBezTo>
                      <a:lnTo>
                        <a:pt x="220107" y="446473"/>
                      </a:lnTo>
                      <a:cubicBezTo>
                        <a:pt x="201563" y="496198"/>
                        <a:pt x="105479" y="493505"/>
                        <a:pt x="57670" y="485321"/>
                      </a:cubicBezTo>
                      <a:cubicBezTo>
                        <a:pt x="27161" y="480089"/>
                        <a:pt x="-5161" y="451497"/>
                        <a:pt x="692" y="413581"/>
                      </a:cubicBezTo>
                      <a:lnTo>
                        <a:pt x="63108" y="12461"/>
                      </a:lnTo>
                      <a:cubicBezTo>
                        <a:pt x="68703" y="-3648"/>
                        <a:pt x="111487" y="-4218"/>
                        <a:pt x="119361" y="11217"/>
                      </a:cubicBezTo>
                      <a:lnTo>
                        <a:pt x="59948" y="400943"/>
                      </a:lnTo>
                      <a:cubicBezTo>
                        <a:pt x="56841" y="421506"/>
                        <a:pt x="71966" y="433678"/>
                        <a:pt x="89059" y="434714"/>
                      </a:cubicBezTo>
                      <a:cubicBezTo>
                        <a:pt x="147694" y="438237"/>
                        <a:pt x="218398" y="444971"/>
                        <a:pt x="229689" y="376442"/>
                      </a:cubicBezTo>
                      <a:lnTo>
                        <a:pt x="289878" y="11994"/>
                      </a:lnTo>
                      <a:cubicBezTo>
                        <a:pt x="292468" y="-3856"/>
                        <a:pt x="330487" y="-1628"/>
                        <a:pt x="346752" y="83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B55AAA49-A54F-02D3-BB1A-970E3054D0AF}"/>
                    </a:ext>
                  </a:extLst>
                </p:cNvPr>
                <p:cNvSpPr/>
                <p:nvPr/>
              </p:nvSpPr>
              <p:spPr>
                <a:xfrm>
                  <a:off x="-3020365" y="8702459"/>
                  <a:ext cx="344688" cy="487391"/>
                </a:xfrm>
                <a:custGeom>
                  <a:avLst/>
                  <a:gdLst>
                    <a:gd name="csX0" fmla="*/ 285094 w 344688"/>
                    <a:gd name="csY0" fmla="*/ 88407 h 487391"/>
                    <a:gd name="csX1" fmla="*/ 160055 w 344688"/>
                    <a:gd name="csY1" fmla="*/ 57846 h 487391"/>
                    <a:gd name="csX2" fmla="*/ 114628 w 344688"/>
                    <a:gd name="csY2" fmla="*/ 115497 h 487391"/>
                    <a:gd name="csX3" fmla="*/ 54180 w 344688"/>
                    <a:gd name="csY3" fmla="*/ 479012 h 487391"/>
                    <a:gd name="csX4" fmla="*/ 0 w 344688"/>
                    <a:gd name="csY4" fmla="*/ 478753 h 487391"/>
                    <a:gd name="csX5" fmla="*/ 72361 w 344688"/>
                    <a:gd name="csY5" fmla="*/ 16408 h 487391"/>
                    <a:gd name="csX6" fmla="*/ 108930 w 344688"/>
                    <a:gd name="csY6" fmla="*/ 4495 h 487391"/>
                    <a:gd name="csX7" fmla="*/ 128821 w 344688"/>
                    <a:gd name="csY7" fmla="*/ 31067 h 487391"/>
                    <a:gd name="csX8" fmla="*/ 196831 w 344688"/>
                    <a:gd name="csY8" fmla="*/ 1439 h 487391"/>
                    <a:gd name="csX9" fmla="*/ 327102 w 344688"/>
                    <a:gd name="csY9" fmla="*/ 24437 h 487391"/>
                    <a:gd name="csX10" fmla="*/ 343522 w 344688"/>
                    <a:gd name="csY10" fmla="*/ 88977 h 487391"/>
                    <a:gd name="csX11" fmla="*/ 280950 w 344688"/>
                    <a:gd name="csY11" fmla="*/ 479375 h 487391"/>
                    <a:gd name="csX12" fmla="*/ 225268 w 344688"/>
                    <a:gd name="csY12" fmla="*/ 479789 h 487391"/>
                    <a:gd name="csX13" fmla="*/ 285042 w 344688"/>
                    <a:gd name="csY13" fmla="*/ 88355 h 4873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688" h="487391">
                      <a:moveTo>
                        <a:pt x="285094" y="88407"/>
                      </a:moveTo>
                      <a:cubicBezTo>
                        <a:pt x="293071" y="36092"/>
                        <a:pt x="185383" y="51734"/>
                        <a:pt x="160055" y="57846"/>
                      </a:cubicBezTo>
                      <a:cubicBezTo>
                        <a:pt x="134726" y="63958"/>
                        <a:pt x="119031" y="88977"/>
                        <a:pt x="114628" y="115497"/>
                      </a:cubicBezTo>
                      <a:lnTo>
                        <a:pt x="54180" y="479012"/>
                      </a:lnTo>
                      <a:cubicBezTo>
                        <a:pt x="48534" y="491185"/>
                        <a:pt x="11085" y="489217"/>
                        <a:pt x="0" y="478753"/>
                      </a:cubicBezTo>
                      <a:lnTo>
                        <a:pt x="72361" y="16408"/>
                      </a:lnTo>
                      <a:cubicBezTo>
                        <a:pt x="74640" y="2009"/>
                        <a:pt x="98778" y="4340"/>
                        <a:pt x="108930" y="4495"/>
                      </a:cubicBezTo>
                      <a:cubicBezTo>
                        <a:pt x="121103" y="4702"/>
                        <a:pt x="123745" y="18014"/>
                        <a:pt x="128821" y="31067"/>
                      </a:cubicBezTo>
                      <a:cubicBezTo>
                        <a:pt x="149695" y="12523"/>
                        <a:pt x="170725" y="2216"/>
                        <a:pt x="196831" y="1439"/>
                      </a:cubicBezTo>
                      <a:cubicBezTo>
                        <a:pt x="243345" y="92"/>
                        <a:pt x="302135" y="-6176"/>
                        <a:pt x="327102" y="24437"/>
                      </a:cubicBezTo>
                      <a:cubicBezTo>
                        <a:pt x="341294" y="41841"/>
                        <a:pt x="347458" y="64373"/>
                        <a:pt x="343522" y="88977"/>
                      </a:cubicBezTo>
                      <a:lnTo>
                        <a:pt x="280950" y="479375"/>
                      </a:lnTo>
                      <a:cubicBezTo>
                        <a:pt x="271160" y="490563"/>
                        <a:pt x="239771" y="488699"/>
                        <a:pt x="225268" y="479789"/>
                      </a:cubicBezTo>
                      <a:lnTo>
                        <a:pt x="285042" y="8835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1A762736-D903-D40D-DB41-C9D4A16E32FD}"/>
                    </a:ext>
                  </a:extLst>
                </p:cNvPr>
                <p:cNvSpPr/>
                <p:nvPr/>
              </p:nvSpPr>
              <p:spPr>
                <a:xfrm>
                  <a:off x="-1307885" y="8705380"/>
                  <a:ext cx="318969" cy="484645"/>
                </a:xfrm>
                <a:custGeom>
                  <a:avLst/>
                  <a:gdLst>
                    <a:gd name="csX0" fmla="*/ 318969 w 318969"/>
                    <a:gd name="csY0" fmla="*/ 10017 h 484645"/>
                    <a:gd name="csX1" fmla="*/ 120171 w 318969"/>
                    <a:gd name="csY1" fmla="*/ 473812 h 484645"/>
                    <a:gd name="csX2" fmla="*/ 51124 w 318969"/>
                    <a:gd name="csY2" fmla="*/ 476402 h 484645"/>
                    <a:gd name="csX3" fmla="*/ 52 w 318969"/>
                    <a:gd name="csY3" fmla="*/ 14938 h 484645"/>
                    <a:gd name="csX4" fmla="*/ 54284 w 318969"/>
                    <a:gd name="csY4" fmla="*/ 10276 h 484645"/>
                    <a:gd name="csX5" fmla="*/ 95877 w 318969"/>
                    <a:gd name="csY5" fmla="*/ 399690 h 484645"/>
                    <a:gd name="csX6" fmla="*/ 260439 w 318969"/>
                    <a:gd name="csY6" fmla="*/ 11364 h 484645"/>
                    <a:gd name="csX7" fmla="*/ 318918 w 318969"/>
                    <a:gd name="csY7" fmla="*/ 10017 h 48464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</a:cxnLst>
                  <a:rect l="l" t="t" r="r" b="b"/>
                  <a:pathLst>
                    <a:path w="318969" h="484645">
                      <a:moveTo>
                        <a:pt x="318969" y="10017"/>
                      </a:moveTo>
                      <a:lnTo>
                        <a:pt x="120171" y="473812"/>
                      </a:lnTo>
                      <a:cubicBezTo>
                        <a:pt x="105201" y="488885"/>
                        <a:pt x="70290" y="486762"/>
                        <a:pt x="51124" y="476402"/>
                      </a:cubicBezTo>
                      <a:lnTo>
                        <a:pt x="52" y="14938"/>
                      </a:lnTo>
                      <a:cubicBezTo>
                        <a:pt x="-1916" y="-2933"/>
                        <a:pt x="52678" y="-4797"/>
                        <a:pt x="54284" y="10276"/>
                      </a:cubicBezTo>
                      <a:lnTo>
                        <a:pt x="95877" y="399690"/>
                      </a:lnTo>
                      <a:lnTo>
                        <a:pt x="260439" y="11364"/>
                      </a:lnTo>
                      <a:cubicBezTo>
                        <a:pt x="267327" y="-4953"/>
                        <a:pt x="300167" y="-2156"/>
                        <a:pt x="318918" y="1001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0923B260-67DB-73FD-BEB6-DCA1CE71E8A6}"/>
                    </a:ext>
                  </a:extLst>
                </p:cNvPr>
                <p:cNvSpPr/>
                <p:nvPr/>
              </p:nvSpPr>
              <p:spPr>
                <a:xfrm>
                  <a:off x="-1927925" y="8706069"/>
                  <a:ext cx="334985" cy="483274"/>
                </a:xfrm>
                <a:custGeom>
                  <a:avLst/>
                  <a:gdLst>
                    <a:gd name="csX0" fmla="*/ 255282 w 334985"/>
                    <a:gd name="csY0" fmla="*/ 479547 h 483274"/>
                    <a:gd name="csX1" fmla="*/ 6809 w 334985"/>
                    <a:gd name="csY1" fmla="*/ 479961 h 483274"/>
                    <a:gd name="csX2" fmla="*/ 7534 w 334985"/>
                    <a:gd name="csY2" fmla="*/ 436969 h 483274"/>
                    <a:gd name="csX3" fmla="*/ 258908 w 334985"/>
                    <a:gd name="csY3" fmla="*/ 56930 h 483274"/>
                    <a:gd name="csX4" fmla="*/ 86059 w 334985"/>
                    <a:gd name="csY4" fmla="*/ 50352 h 483274"/>
                    <a:gd name="csX5" fmla="*/ 99371 w 334985"/>
                    <a:gd name="csY5" fmla="*/ 1921 h 483274"/>
                    <a:gd name="csX6" fmla="*/ 327954 w 334985"/>
                    <a:gd name="csY6" fmla="*/ 3423 h 483274"/>
                    <a:gd name="csX7" fmla="*/ 327540 w 334985"/>
                    <a:gd name="csY7" fmla="*/ 47296 h 483274"/>
                    <a:gd name="csX8" fmla="*/ 76269 w 334985"/>
                    <a:gd name="csY8" fmla="*/ 428733 h 483274"/>
                    <a:gd name="csX9" fmla="*/ 263725 w 334985"/>
                    <a:gd name="csY9" fmla="*/ 434120 h 483274"/>
                    <a:gd name="csX10" fmla="*/ 255282 w 334985"/>
                    <a:gd name="csY10" fmla="*/ 479495 h 48327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334985" h="483274">
                      <a:moveTo>
                        <a:pt x="255282" y="479547"/>
                      </a:moveTo>
                      <a:cubicBezTo>
                        <a:pt x="170800" y="484986"/>
                        <a:pt x="89633" y="483898"/>
                        <a:pt x="6809" y="479961"/>
                      </a:cubicBezTo>
                      <a:cubicBezTo>
                        <a:pt x="-5571" y="477060"/>
                        <a:pt x="1577" y="445930"/>
                        <a:pt x="7534" y="436969"/>
                      </a:cubicBezTo>
                      <a:lnTo>
                        <a:pt x="258908" y="56930"/>
                      </a:lnTo>
                      <a:lnTo>
                        <a:pt x="86059" y="50352"/>
                      </a:lnTo>
                      <a:cubicBezTo>
                        <a:pt x="71349" y="49782"/>
                        <a:pt x="80983" y="2232"/>
                        <a:pt x="99371" y="1921"/>
                      </a:cubicBezTo>
                      <a:cubicBezTo>
                        <a:pt x="176290" y="678"/>
                        <a:pt x="250051" y="-2378"/>
                        <a:pt x="327954" y="3423"/>
                      </a:cubicBezTo>
                      <a:cubicBezTo>
                        <a:pt x="340593" y="4356"/>
                        <a:pt x="333496" y="38231"/>
                        <a:pt x="327540" y="47296"/>
                      </a:cubicBezTo>
                      <a:lnTo>
                        <a:pt x="76269" y="428733"/>
                      </a:lnTo>
                      <a:lnTo>
                        <a:pt x="263725" y="434120"/>
                      </a:lnTo>
                      <a:cubicBezTo>
                        <a:pt x="275328" y="434431"/>
                        <a:pt x="269681" y="478614"/>
                        <a:pt x="255282" y="47949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2">
                  <a:extLst>
                    <a:ext uri="{FF2B5EF4-FFF2-40B4-BE49-F238E27FC236}">
                      <a16:creationId xmlns:a16="http://schemas.microsoft.com/office/drawing/2014/main" id="{9B2B94A2-A33D-F11A-9352-2845AB72EF9D}"/>
                    </a:ext>
                  </a:extLst>
                </p:cNvPr>
                <p:cNvGrpSpPr/>
                <p:nvPr/>
              </p:nvGrpSpPr>
              <p:grpSpPr>
                <a:xfrm>
                  <a:off x="-4456142" y="8578331"/>
                  <a:ext cx="648106" cy="616993"/>
                  <a:chOff x="-4456142" y="8578331"/>
                  <a:chExt cx="648106" cy="616993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0A3447A-B153-7FE2-AF83-82A9DFCFDFD9}"/>
                      </a:ext>
                    </a:extLst>
                  </p:cNvPr>
                  <p:cNvSpPr/>
                  <p:nvPr/>
                </p:nvSpPr>
                <p:spPr>
                  <a:xfrm>
                    <a:off x="-4143064" y="8702139"/>
                    <a:ext cx="335028" cy="493184"/>
                  </a:xfrm>
                  <a:custGeom>
                    <a:avLst/>
                    <a:gdLst>
                      <a:gd name="csX0" fmla="*/ 167655 w 335028"/>
                      <a:gd name="csY0" fmla="*/ 439086 h 493184"/>
                      <a:gd name="csX1" fmla="*/ 294300 w 335028"/>
                      <a:gd name="csY1" fmla="*/ 350874 h 493184"/>
                      <a:gd name="csX2" fmla="*/ 201997 w 335028"/>
                      <a:gd name="csY2" fmla="*/ 488397 h 493184"/>
                      <a:gd name="csX3" fmla="*/ 73487 w 335028"/>
                      <a:gd name="csY3" fmla="*/ 490313 h 493184"/>
                      <a:gd name="csX4" fmla="*/ 1074 w 335028"/>
                      <a:gd name="csY4" fmla="*/ 399253 h 493184"/>
                      <a:gd name="csX5" fmla="*/ 53182 w 335028"/>
                      <a:gd name="csY5" fmla="*/ 80646 h 493184"/>
                      <a:gd name="csX6" fmla="*/ 258974 w 335028"/>
                      <a:gd name="csY6" fmla="*/ 1862 h 493184"/>
                      <a:gd name="csX7" fmla="*/ 334236 w 335028"/>
                      <a:gd name="csY7" fmla="*/ 89090 h 493184"/>
                      <a:gd name="csX8" fmla="*/ 313155 w 335028"/>
                      <a:gd name="csY8" fmla="*/ 243653 h 493184"/>
                      <a:gd name="csX9" fmla="*/ 285184 w 335028"/>
                      <a:gd name="csY9" fmla="*/ 267429 h 493184"/>
                      <a:gd name="csX10" fmla="*/ 80065 w 335028"/>
                      <a:gd name="csY10" fmla="*/ 267895 h 493184"/>
                      <a:gd name="csX11" fmla="*/ 60175 w 335028"/>
                      <a:gd name="csY11" fmla="*/ 390344 h 493184"/>
                      <a:gd name="csX12" fmla="*/ 100370 w 335028"/>
                      <a:gd name="csY12" fmla="*/ 438723 h 493184"/>
                      <a:gd name="csX13" fmla="*/ 167655 w 335028"/>
                      <a:gd name="csY13" fmla="*/ 439086 h 493184"/>
                      <a:gd name="csX14" fmla="*/ 260165 w 335028"/>
                      <a:gd name="csY14" fmla="*/ 215372 h 493184"/>
                      <a:gd name="csX15" fmla="*/ 278605 w 335028"/>
                      <a:gd name="csY15" fmla="*/ 100071 h 493184"/>
                      <a:gd name="csX16" fmla="*/ 151442 w 335028"/>
                      <a:gd name="csY16" fmla="*/ 55317 h 493184"/>
                      <a:gd name="csX17" fmla="*/ 106741 w 335028"/>
                      <a:gd name="csY17" fmla="*/ 101210 h 493184"/>
                      <a:gd name="csX18" fmla="*/ 88405 w 335028"/>
                      <a:gd name="csY18" fmla="*/ 216045 h 493184"/>
                      <a:gd name="csX19" fmla="*/ 260165 w 335028"/>
                      <a:gd name="csY19" fmla="*/ 215320 h 4931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5028" h="493184">
                        <a:moveTo>
                          <a:pt x="167655" y="439086"/>
                        </a:moveTo>
                        <a:cubicBezTo>
                          <a:pt x="279382" y="439656"/>
                          <a:pt x="192414" y="295865"/>
                          <a:pt x="294300" y="350874"/>
                        </a:cubicBezTo>
                        <a:cubicBezTo>
                          <a:pt x="286427" y="413653"/>
                          <a:pt x="276275" y="477778"/>
                          <a:pt x="201997" y="488397"/>
                        </a:cubicBezTo>
                        <a:cubicBezTo>
                          <a:pt x="158694" y="494613"/>
                          <a:pt x="117256" y="494250"/>
                          <a:pt x="73487" y="490313"/>
                        </a:cubicBezTo>
                        <a:cubicBezTo>
                          <a:pt x="28734" y="486273"/>
                          <a:pt x="-6696" y="446855"/>
                          <a:pt x="1074" y="399253"/>
                        </a:cubicBezTo>
                        <a:lnTo>
                          <a:pt x="53182" y="80646"/>
                        </a:lnTo>
                        <a:cubicBezTo>
                          <a:pt x="68929" y="-15594"/>
                          <a:pt x="180397" y="412"/>
                          <a:pt x="258974" y="1862"/>
                        </a:cubicBezTo>
                        <a:cubicBezTo>
                          <a:pt x="306783" y="2795"/>
                          <a:pt x="340711" y="41643"/>
                          <a:pt x="334236" y="89090"/>
                        </a:cubicBezTo>
                        <a:lnTo>
                          <a:pt x="313155" y="243653"/>
                        </a:lnTo>
                        <a:cubicBezTo>
                          <a:pt x="311186" y="258105"/>
                          <a:pt x="299998" y="267377"/>
                          <a:pt x="285184" y="267429"/>
                        </a:cubicBezTo>
                        <a:lnTo>
                          <a:pt x="80065" y="267895"/>
                        </a:lnTo>
                        <a:lnTo>
                          <a:pt x="60175" y="390344"/>
                        </a:lnTo>
                        <a:cubicBezTo>
                          <a:pt x="55876" y="416916"/>
                          <a:pt x="72865" y="438568"/>
                          <a:pt x="100370" y="438723"/>
                        </a:cubicBezTo>
                        <a:lnTo>
                          <a:pt x="167655" y="439086"/>
                        </a:lnTo>
                        <a:close/>
                        <a:moveTo>
                          <a:pt x="260165" y="215372"/>
                        </a:moveTo>
                        <a:lnTo>
                          <a:pt x="278605" y="100071"/>
                        </a:lnTo>
                        <a:cubicBezTo>
                          <a:pt x="288447" y="38639"/>
                          <a:pt x="191689" y="49672"/>
                          <a:pt x="151442" y="55317"/>
                        </a:cubicBezTo>
                        <a:cubicBezTo>
                          <a:pt x="126838" y="58788"/>
                          <a:pt x="110574" y="77021"/>
                          <a:pt x="106741" y="101210"/>
                        </a:cubicBezTo>
                        <a:lnTo>
                          <a:pt x="88405" y="216045"/>
                        </a:lnTo>
                        <a:lnTo>
                          <a:pt x="260165" y="21532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8CFD8CBD-70BE-8A80-2770-56C7BC88A134}"/>
                      </a:ext>
                    </a:extLst>
                  </p:cNvPr>
                  <p:cNvSpPr/>
                  <p:nvPr/>
                </p:nvSpPr>
                <p:spPr>
                  <a:xfrm>
                    <a:off x="-4456142" y="8578331"/>
                    <a:ext cx="263608" cy="610730"/>
                  </a:xfrm>
                  <a:custGeom>
                    <a:avLst/>
                    <a:gdLst>
                      <a:gd name="csX0" fmla="*/ 258573 w 263608"/>
                      <a:gd name="csY0" fmla="*/ 556213 h 610730"/>
                      <a:gd name="csX1" fmla="*/ 242102 w 263608"/>
                      <a:gd name="csY1" fmla="*/ 608580 h 610730"/>
                      <a:gd name="csX2" fmla="*/ 0 w 263608"/>
                      <a:gd name="csY2" fmla="*/ 608580 h 610730"/>
                      <a:gd name="csX3" fmla="*/ 95308 w 263608"/>
                      <a:gd name="csY3" fmla="*/ 9489 h 610730"/>
                      <a:gd name="csX4" fmla="*/ 154253 w 263608"/>
                      <a:gd name="csY4" fmla="*/ 9126 h 610730"/>
                      <a:gd name="csX5" fmla="*/ 70289 w 263608"/>
                      <a:gd name="csY5" fmla="*/ 550619 h 610730"/>
                      <a:gd name="csX6" fmla="*/ 258625 w 263608"/>
                      <a:gd name="csY6" fmla="*/ 556264 h 6107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</a:cxnLst>
                    <a:rect l="l" t="t" r="r" b="b"/>
                    <a:pathLst>
                      <a:path w="263608" h="610730">
                        <a:moveTo>
                          <a:pt x="258573" y="556213"/>
                        </a:moveTo>
                        <a:cubicBezTo>
                          <a:pt x="271678" y="565743"/>
                          <a:pt x="256709" y="607958"/>
                          <a:pt x="242102" y="608580"/>
                        </a:cubicBezTo>
                        <a:cubicBezTo>
                          <a:pt x="160987" y="611895"/>
                          <a:pt x="85829" y="610963"/>
                          <a:pt x="0" y="608580"/>
                        </a:cubicBezTo>
                        <a:lnTo>
                          <a:pt x="95308" y="9489"/>
                        </a:lnTo>
                        <a:cubicBezTo>
                          <a:pt x="108360" y="-2787"/>
                          <a:pt x="140993" y="-3408"/>
                          <a:pt x="154253" y="9126"/>
                        </a:cubicBezTo>
                        <a:lnTo>
                          <a:pt x="70289" y="550619"/>
                        </a:lnTo>
                        <a:lnTo>
                          <a:pt x="258625" y="55626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D5296FD9-CCE6-4ACD-87B0-1E1ECE98B2CC}"/>
                    </a:ext>
                  </a:extLst>
                </p:cNvPr>
                <p:cNvSpPr/>
                <p:nvPr/>
              </p:nvSpPr>
              <p:spPr>
                <a:xfrm>
                  <a:off x="-3617591" y="8703580"/>
                  <a:ext cx="254124" cy="486521"/>
                </a:xfrm>
                <a:custGeom>
                  <a:avLst/>
                  <a:gdLst>
                    <a:gd name="csX0" fmla="*/ 54336 w 254124"/>
                    <a:gd name="csY0" fmla="*/ 476442 h 486521"/>
                    <a:gd name="csX1" fmla="*/ 0 w 254124"/>
                    <a:gd name="csY1" fmla="*/ 477581 h 486521"/>
                    <a:gd name="csX2" fmla="*/ 73915 w 254124"/>
                    <a:gd name="csY2" fmla="*/ 13216 h 486521"/>
                    <a:gd name="csX3" fmla="*/ 121724 w 254124"/>
                    <a:gd name="csY3" fmla="*/ 9331 h 486521"/>
                    <a:gd name="csX4" fmla="*/ 123382 w 254124"/>
                    <a:gd name="csY4" fmla="*/ 54965 h 486521"/>
                    <a:gd name="csX5" fmla="*/ 252513 w 254124"/>
                    <a:gd name="csY5" fmla="*/ 2960 h 486521"/>
                    <a:gd name="csX6" fmla="*/ 246971 w 254124"/>
                    <a:gd name="csY6" fmla="*/ 38338 h 486521"/>
                    <a:gd name="csX7" fmla="*/ 212836 w 254124"/>
                    <a:gd name="csY7" fmla="*/ 52323 h 486521"/>
                    <a:gd name="csX8" fmla="*/ 113437 w 254124"/>
                    <a:gd name="csY8" fmla="*/ 137737 h 486521"/>
                    <a:gd name="csX9" fmla="*/ 54336 w 254124"/>
                    <a:gd name="csY9" fmla="*/ 476390 h 48652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254124" h="486521">
                      <a:moveTo>
                        <a:pt x="54336" y="476442"/>
                      </a:moveTo>
                      <a:cubicBezTo>
                        <a:pt x="51694" y="491670"/>
                        <a:pt x="10670" y="487630"/>
                        <a:pt x="0" y="477581"/>
                      </a:cubicBezTo>
                      <a:lnTo>
                        <a:pt x="73915" y="13216"/>
                      </a:lnTo>
                      <a:cubicBezTo>
                        <a:pt x="76143" y="-769"/>
                        <a:pt x="114576" y="-510"/>
                        <a:pt x="121724" y="9331"/>
                      </a:cubicBezTo>
                      <a:cubicBezTo>
                        <a:pt x="131255" y="22591"/>
                        <a:pt x="116855" y="36784"/>
                        <a:pt x="123382" y="54965"/>
                      </a:cubicBezTo>
                      <a:cubicBezTo>
                        <a:pt x="145914" y="8658"/>
                        <a:pt x="204859" y="-7244"/>
                        <a:pt x="252513" y="2960"/>
                      </a:cubicBezTo>
                      <a:cubicBezTo>
                        <a:pt x="256968" y="16324"/>
                        <a:pt x="251218" y="30361"/>
                        <a:pt x="246971" y="38338"/>
                      </a:cubicBezTo>
                      <a:cubicBezTo>
                        <a:pt x="241377" y="48749"/>
                        <a:pt x="227754" y="52271"/>
                        <a:pt x="212836" y="52323"/>
                      </a:cubicBezTo>
                      <a:cubicBezTo>
                        <a:pt x="163628" y="52582"/>
                        <a:pt x="122346" y="86924"/>
                        <a:pt x="113437" y="137737"/>
                      </a:cubicBezTo>
                      <a:lnTo>
                        <a:pt x="54336" y="47639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6" name="Graphic 2">
                  <a:extLst>
                    <a:ext uri="{FF2B5EF4-FFF2-40B4-BE49-F238E27FC236}">
                      <a16:creationId xmlns:a16="http://schemas.microsoft.com/office/drawing/2014/main" id="{4B6FA6EC-20A6-C6E5-9CA0-FE4B3ABA3866}"/>
                    </a:ext>
                  </a:extLst>
                </p:cNvPr>
                <p:cNvGrpSpPr/>
                <p:nvPr/>
              </p:nvGrpSpPr>
              <p:grpSpPr>
                <a:xfrm>
                  <a:off x="-4451188" y="9377107"/>
                  <a:ext cx="4402683" cy="625339"/>
                  <a:chOff x="-4451188" y="9377107"/>
                  <a:chExt cx="4402683" cy="625339"/>
                </a:xfrm>
                <a:grpFill/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B4FB2625-2B5A-272E-DDA8-10CCFF199560}"/>
                      </a:ext>
                    </a:extLst>
                  </p:cNvPr>
                  <p:cNvSpPr/>
                  <p:nvPr/>
                </p:nvSpPr>
                <p:spPr>
                  <a:xfrm>
                    <a:off x="-3199082" y="9511766"/>
                    <a:ext cx="336917" cy="489876"/>
                  </a:xfrm>
                  <a:custGeom>
                    <a:avLst/>
                    <a:gdLst>
                      <a:gd name="csX0" fmla="*/ 67 w 336917"/>
                      <a:gd name="csY0" fmla="*/ 413415 h 489876"/>
                      <a:gd name="csX1" fmla="*/ 107806 w 336917"/>
                      <a:gd name="csY1" fmla="*/ 216791 h 489876"/>
                      <a:gd name="csX2" fmla="*/ 258330 w 336917"/>
                      <a:gd name="csY2" fmla="*/ 214927 h 489876"/>
                      <a:gd name="csX3" fmla="*/ 241703 w 336917"/>
                      <a:gd name="csY3" fmla="*/ 51350 h 489876"/>
                      <a:gd name="csX4" fmla="*/ 159241 w 336917"/>
                      <a:gd name="csY4" fmla="*/ 51868 h 489876"/>
                      <a:gd name="csX5" fmla="*/ 52797 w 336917"/>
                      <a:gd name="csY5" fmla="*/ 145259 h 489876"/>
                      <a:gd name="csX6" fmla="*/ 146395 w 336917"/>
                      <a:gd name="csY6" fmla="*/ 1210 h 489876"/>
                      <a:gd name="csX7" fmla="*/ 260505 w 336917"/>
                      <a:gd name="csY7" fmla="*/ 381 h 489876"/>
                      <a:gd name="csX8" fmla="*/ 317742 w 336917"/>
                      <a:gd name="csY8" fmla="*/ 24312 h 489876"/>
                      <a:gd name="csX9" fmla="*/ 335922 w 336917"/>
                      <a:gd name="csY9" fmla="*/ 91649 h 489876"/>
                      <a:gd name="csX10" fmla="*/ 275060 w 336917"/>
                      <a:gd name="csY10" fmla="*/ 475831 h 489876"/>
                      <a:gd name="csX11" fmla="*/ 228391 w 336917"/>
                      <a:gd name="csY11" fmla="*/ 477592 h 489876"/>
                      <a:gd name="csX12" fmla="*/ 223833 w 336917"/>
                      <a:gd name="csY12" fmla="*/ 452263 h 489876"/>
                      <a:gd name="csX13" fmla="*/ 66213 w 336917"/>
                      <a:gd name="csY13" fmla="*/ 487279 h 489876"/>
                      <a:gd name="csX14" fmla="*/ 119 w 336917"/>
                      <a:gd name="csY14" fmla="*/ 413467 h 489876"/>
                      <a:gd name="csX15" fmla="*/ 233674 w 336917"/>
                      <a:gd name="csY15" fmla="*/ 375603 h 489876"/>
                      <a:gd name="csX16" fmla="*/ 249058 w 336917"/>
                      <a:gd name="csY16" fmla="*/ 267657 h 489876"/>
                      <a:gd name="csX17" fmla="*/ 70719 w 336917"/>
                      <a:gd name="csY17" fmla="*/ 319092 h 489876"/>
                      <a:gd name="csX18" fmla="*/ 58909 w 336917"/>
                      <a:gd name="csY18" fmla="*/ 395493 h 489876"/>
                      <a:gd name="csX19" fmla="*/ 91075 w 336917"/>
                      <a:gd name="csY19" fmla="*/ 436465 h 489876"/>
                      <a:gd name="csX20" fmla="*/ 233622 w 336917"/>
                      <a:gd name="csY20" fmla="*/ 375603 h 48987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917" h="489876">
                        <a:moveTo>
                          <a:pt x="67" y="413415"/>
                        </a:moveTo>
                        <a:cubicBezTo>
                          <a:pt x="4159" y="338775"/>
                          <a:pt x="13224" y="217983"/>
                          <a:pt x="107806" y="216791"/>
                        </a:cubicBezTo>
                        <a:lnTo>
                          <a:pt x="258330" y="214927"/>
                        </a:lnTo>
                        <a:cubicBezTo>
                          <a:pt x="260764" y="168413"/>
                          <a:pt x="309247" y="51764"/>
                          <a:pt x="241703" y="51350"/>
                        </a:cubicBezTo>
                        <a:cubicBezTo>
                          <a:pt x="213577" y="51195"/>
                          <a:pt x="186642" y="49330"/>
                          <a:pt x="159241" y="51868"/>
                        </a:cubicBezTo>
                        <a:cubicBezTo>
                          <a:pt x="77712" y="59431"/>
                          <a:pt x="144220" y="200424"/>
                          <a:pt x="52797" y="145259"/>
                        </a:cubicBezTo>
                        <a:cubicBezTo>
                          <a:pt x="51865" y="84759"/>
                          <a:pt x="71185" y="6027"/>
                          <a:pt x="146395" y="1210"/>
                        </a:cubicBezTo>
                        <a:cubicBezTo>
                          <a:pt x="184725" y="-1224"/>
                          <a:pt x="221761" y="847"/>
                          <a:pt x="260505" y="381"/>
                        </a:cubicBezTo>
                        <a:cubicBezTo>
                          <a:pt x="284021" y="122"/>
                          <a:pt x="305310" y="8772"/>
                          <a:pt x="317742" y="24312"/>
                        </a:cubicBezTo>
                        <a:cubicBezTo>
                          <a:pt x="331002" y="40939"/>
                          <a:pt x="340015" y="65905"/>
                          <a:pt x="335922" y="91649"/>
                        </a:cubicBezTo>
                        <a:lnTo>
                          <a:pt x="275060" y="475831"/>
                        </a:lnTo>
                        <a:cubicBezTo>
                          <a:pt x="272470" y="487796"/>
                          <a:pt x="234503" y="482772"/>
                          <a:pt x="228391" y="477592"/>
                        </a:cubicBezTo>
                        <a:lnTo>
                          <a:pt x="223833" y="452263"/>
                        </a:lnTo>
                        <a:cubicBezTo>
                          <a:pt x="192702" y="496706"/>
                          <a:pt x="118735" y="491267"/>
                          <a:pt x="66213" y="487279"/>
                        </a:cubicBezTo>
                        <a:cubicBezTo>
                          <a:pt x="27209" y="484326"/>
                          <a:pt x="-2108" y="454025"/>
                          <a:pt x="119" y="413467"/>
                        </a:cubicBezTo>
                        <a:close/>
                        <a:moveTo>
                          <a:pt x="233674" y="375603"/>
                        </a:moveTo>
                        <a:cubicBezTo>
                          <a:pt x="239424" y="339293"/>
                          <a:pt x="246727" y="305883"/>
                          <a:pt x="249058" y="267657"/>
                        </a:cubicBezTo>
                        <a:cubicBezTo>
                          <a:pt x="176749" y="271904"/>
                          <a:pt x="82684" y="241603"/>
                          <a:pt x="70719" y="319092"/>
                        </a:cubicBezTo>
                        <a:lnTo>
                          <a:pt x="58909" y="395493"/>
                        </a:lnTo>
                        <a:cubicBezTo>
                          <a:pt x="55594" y="416937"/>
                          <a:pt x="69113" y="434445"/>
                          <a:pt x="91075" y="436465"/>
                        </a:cubicBezTo>
                        <a:cubicBezTo>
                          <a:pt x="146240" y="441593"/>
                          <a:pt x="222797" y="444235"/>
                          <a:pt x="233622" y="37560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2" name="Graphic 2">
                    <a:extLst>
                      <a:ext uri="{FF2B5EF4-FFF2-40B4-BE49-F238E27FC236}">
                        <a16:creationId xmlns:a16="http://schemas.microsoft.com/office/drawing/2014/main" id="{BF73B78B-490D-D2A5-08EE-5F3C5FA4E71A}"/>
                      </a:ext>
                    </a:extLst>
                  </p:cNvPr>
                  <p:cNvGrpSpPr/>
                  <p:nvPr/>
                </p:nvGrpSpPr>
                <p:grpSpPr>
                  <a:xfrm>
                    <a:off x="-760337" y="9377107"/>
                    <a:ext cx="711832" cy="624477"/>
                    <a:chOff x="-760337" y="9377107"/>
                    <a:chExt cx="711832" cy="624477"/>
                  </a:xfrm>
                  <a:grpFill/>
                </p:grpSpPr>
                <p:sp>
                  <p:nvSpPr>
                    <p:cNvPr id="153" name="Freeform: Shape 152">
                      <a:extLst>
                        <a:ext uri="{FF2B5EF4-FFF2-40B4-BE49-F238E27FC236}">
                          <a16:creationId xmlns:a16="http://schemas.microsoft.com/office/drawing/2014/main" id="{9AF73655-93D1-AC7D-CE03-AEA2873F1B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760337" y="9377107"/>
                      <a:ext cx="372583" cy="624477"/>
                    </a:xfrm>
                    <a:custGeom>
                      <a:avLst/>
                      <a:gdLst>
                        <a:gd name="csX0" fmla="*/ 64492 w 372583"/>
                        <a:gd name="csY0" fmla="*/ 621420 h 624477"/>
                        <a:gd name="csX1" fmla="*/ 936 w 372583"/>
                        <a:gd name="csY1" fmla="*/ 541237 h 624477"/>
                        <a:gd name="csX2" fmla="*/ 53925 w 372583"/>
                        <a:gd name="csY2" fmla="*/ 206624 h 624477"/>
                        <a:gd name="csX3" fmla="*/ 135454 w 372583"/>
                        <a:gd name="csY3" fmla="*/ 135144 h 624477"/>
                        <a:gd name="csX4" fmla="*/ 218590 w 372583"/>
                        <a:gd name="csY4" fmla="*/ 134522 h 624477"/>
                        <a:gd name="csX5" fmla="*/ 287014 w 372583"/>
                        <a:gd name="csY5" fmla="*/ 170211 h 624477"/>
                        <a:gd name="csX6" fmla="*/ 316953 w 372583"/>
                        <a:gd name="csY6" fmla="*/ 10778 h 624477"/>
                        <a:gd name="csX7" fmla="*/ 372584 w 372583"/>
                        <a:gd name="csY7" fmla="*/ 9327 h 624477"/>
                        <a:gd name="csX8" fmla="*/ 276914 w 372583"/>
                        <a:gd name="csY8" fmla="*/ 606916 h 624477"/>
                        <a:gd name="csX9" fmla="*/ 230658 w 372583"/>
                        <a:gd name="csY9" fmla="*/ 613391 h 624477"/>
                        <a:gd name="csX10" fmla="*/ 222009 w 372583"/>
                        <a:gd name="csY10" fmla="*/ 588269 h 624477"/>
                        <a:gd name="csX11" fmla="*/ 64440 w 372583"/>
                        <a:gd name="csY11" fmla="*/ 621420 h 624477"/>
                        <a:gd name="csX12" fmla="*/ 234025 w 372583"/>
                        <a:gd name="csY12" fmla="*/ 512593 h 624477"/>
                        <a:gd name="csX13" fmla="*/ 276810 w 372583"/>
                        <a:gd name="csY13" fmla="*/ 238273 h 624477"/>
                        <a:gd name="csX14" fmla="*/ 231487 w 372583"/>
                        <a:gd name="csY14" fmla="*/ 185543 h 624477"/>
                        <a:gd name="csX15" fmla="*/ 160887 w 372583"/>
                        <a:gd name="csY15" fmla="*/ 185180 h 624477"/>
                        <a:gd name="csX16" fmla="*/ 108778 w 372583"/>
                        <a:gd name="csY16" fmla="*/ 224650 h 624477"/>
                        <a:gd name="csX17" fmla="*/ 59623 w 372583"/>
                        <a:gd name="csY17" fmla="*/ 535642 h 624477"/>
                        <a:gd name="csX18" fmla="*/ 87490 w 372583"/>
                        <a:gd name="csY18" fmla="*/ 570244 h 624477"/>
                        <a:gd name="csX19" fmla="*/ 234025 w 372583"/>
                        <a:gd name="csY19" fmla="*/ 512645 h 624477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72583" h="624477">
                          <a:moveTo>
                            <a:pt x="64492" y="621420"/>
                          </a:moveTo>
                          <a:cubicBezTo>
                            <a:pt x="22691" y="617276"/>
                            <a:pt x="-5590" y="582571"/>
                            <a:pt x="936" y="541237"/>
                          </a:cubicBezTo>
                          <a:lnTo>
                            <a:pt x="53925" y="206624"/>
                          </a:lnTo>
                          <a:cubicBezTo>
                            <a:pt x="60711" y="163788"/>
                            <a:pt x="93809" y="135455"/>
                            <a:pt x="135454" y="135144"/>
                          </a:cubicBezTo>
                          <a:lnTo>
                            <a:pt x="218590" y="134522"/>
                          </a:lnTo>
                          <a:cubicBezTo>
                            <a:pt x="247700" y="134315"/>
                            <a:pt x="269455" y="145917"/>
                            <a:pt x="287014" y="170211"/>
                          </a:cubicBezTo>
                          <a:lnTo>
                            <a:pt x="316953" y="10778"/>
                          </a:lnTo>
                          <a:cubicBezTo>
                            <a:pt x="319905" y="-4917"/>
                            <a:pt x="359375" y="-1757"/>
                            <a:pt x="372584" y="9327"/>
                          </a:cubicBezTo>
                          <a:lnTo>
                            <a:pt x="276914" y="606916"/>
                          </a:lnTo>
                          <a:cubicBezTo>
                            <a:pt x="274479" y="622093"/>
                            <a:pt x="238169" y="619089"/>
                            <a:pt x="230658" y="613391"/>
                          </a:cubicBezTo>
                          <a:cubicBezTo>
                            <a:pt x="224132" y="606761"/>
                            <a:pt x="228172" y="597075"/>
                            <a:pt x="222009" y="588269"/>
                          </a:cubicBezTo>
                          <a:cubicBezTo>
                            <a:pt x="194763" y="629759"/>
                            <a:pt x="118516" y="626806"/>
                            <a:pt x="64440" y="621420"/>
                          </a:cubicBezTo>
                          <a:close/>
                          <a:moveTo>
                            <a:pt x="234025" y="512593"/>
                          </a:moveTo>
                          <a:lnTo>
                            <a:pt x="276810" y="238273"/>
                          </a:lnTo>
                          <a:cubicBezTo>
                            <a:pt x="281420" y="208748"/>
                            <a:pt x="259354" y="185698"/>
                            <a:pt x="231487" y="185543"/>
                          </a:cubicBezTo>
                          <a:lnTo>
                            <a:pt x="160887" y="185180"/>
                          </a:lnTo>
                          <a:cubicBezTo>
                            <a:pt x="136387" y="185076"/>
                            <a:pt x="112871" y="198751"/>
                            <a:pt x="108778" y="224650"/>
                          </a:cubicBezTo>
                          <a:lnTo>
                            <a:pt x="59623" y="535642"/>
                          </a:lnTo>
                          <a:cubicBezTo>
                            <a:pt x="59623" y="553409"/>
                            <a:pt x="69412" y="568068"/>
                            <a:pt x="87490" y="570244"/>
                          </a:cubicBezTo>
                          <a:cubicBezTo>
                            <a:pt x="138096" y="576200"/>
                            <a:pt x="223407" y="580551"/>
                            <a:pt x="234025" y="51264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4" name="Freeform: Shape 153">
                      <a:extLst>
                        <a:ext uri="{FF2B5EF4-FFF2-40B4-BE49-F238E27FC236}">
                          <a16:creationId xmlns:a16="http://schemas.microsoft.com/office/drawing/2014/main" id="{5AE4AF9E-EFCE-7184-8D84-46909C41B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81617" y="9511681"/>
                      <a:ext cx="333112" cy="488906"/>
                    </a:xfrm>
                    <a:custGeom>
                      <a:avLst/>
                      <a:gdLst>
                        <a:gd name="csX0" fmla="*/ 179662 w 333112"/>
                        <a:gd name="csY0" fmla="*/ 435929 h 488906"/>
                        <a:gd name="csX1" fmla="*/ 291131 w 333112"/>
                        <a:gd name="csY1" fmla="*/ 348029 h 488906"/>
                        <a:gd name="csX2" fmla="*/ 193751 w 333112"/>
                        <a:gd name="csY2" fmla="*/ 487157 h 488906"/>
                        <a:gd name="csX3" fmla="*/ 74980 w 333112"/>
                        <a:gd name="csY3" fmla="*/ 487468 h 488906"/>
                        <a:gd name="csX4" fmla="*/ 909 w 333112"/>
                        <a:gd name="csY4" fmla="*/ 401069 h 488906"/>
                        <a:gd name="csX5" fmla="*/ 52085 w 333112"/>
                        <a:gd name="csY5" fmla="*/ 81219 h 488906"/>
                        <a:gd name="csX6" fmla="*/ 150190 w 333112"/>
                        <a:gd name="csY6" fmla="*/ 1 h 488906"/>
                        <a:gd name="csX7" fmla="*/ 258446 w 333112"/>
                        <a:gd name="csY7" fmla="*/ 260 h 488906"/>
                        <a:gd name="csX8" fmla="*/ 307861 w 333112"/>
                        <a:gd name="csY8" fmla="*/ 261061 h 488906"/>
                        <a:gd name="csX9" fmla="*/ 80936 w 333112"/>
                        <a:gd name="csY9" fmla="*/ 264168 h 488906"/>
                        <a:gd name="csX10" fmla="*/ 95802 w 333112"/>
                        <a:gd name="csY10" fmla="*/ 435981 h 488906"/>
                        <a:gd name="csX11" fmla="*/ 179610 w 333112"/>
                        <a:gd name="csY11" fmla="*/ 435929 h 488906"/>
                        <a:gd name="csX12" fmla="*/ 261140 w 333112"/>
                        <a:gd name="csY12" fmla="*/ 212215 h 488906"/>
                        <a:gd name="csX13" fmla="*/ 277767 w 333112"/>
                        <a:gd name="csY13" fmla="*/ 90543 h 488906"/>
                        <a:gd name="csX14" fmla="*/ 245290 w 333112"/>
                        <a:gd name="csY14" fmla="*/ 51539 h 488906"/>
                        <a:gd name="csX15" fmla="*/ 106680 w 333112"/>
                        <a:gd name="csY15" fmla="*/ 96758 h 488906"/>
                        <a:gd name="csX16" fmla="*/ 89742 w 333112"/>
                        <a:gd name="csY16" fmla="*/ 212267 h 488906"/>
                        <a:gd name="csX17" fmla="*/ 261140 w 333112"/>
                        <a:gd name="csY17" fmla="*/ 212267 h 488906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</a:cxnLst>
                      <a:rect l="l" t="t" r="r" b="b"/>
                      <a:pathLst>
                        <a:path w="333112" h="488906">
                          <a:moveTo>
                            <a:pt x="179662" y="435929"/>
                          </a:moveTo>
                          <a:cubicBezTo>
                            <a:pt x="272173" y="425155"/>
                            <a:pt x="198931" y="297112"/>
                            <a:pt x="291131" y="348029"/>
                          </a:cubicBezTo>
                          <a:cubicBezTo>
                            <a:pt x="291908" y="408943"/>
                            <a:pt x="268703" y="482443"/>
                            <a:pt x="193751" y="487157"/>
                          </a:cubicBezTo>
                          <a:cubicBezTo>
                            <a:pt x="153504" y="489695"/>
                            <a:pt x="116003" y="489177"/>
                            <a:pt x="74980" y="487468"/>
                          </a:cubicBezTo>
                          <a:cubicBezTo>
                            <a:pt x="31987" y="485655"/>
                            <a:pt x="-6447" y="446910"/>
                            <a:pt x="909" y="401069"/>
                          </a:cubicBezTo>
                          <a:lnTo>
                            <a:pt x="52085" y="81219"/>
                          </a:lnTo>
                          <a:cubicBezTo>
                            <a:pt x="60217" y="30509"/>
                            <a:pt x="100775" y="-155"/>
                            <a:pt x="150190" y="1"/>
                          </a:cubicBezTo>
                          <a:lnTo>
                            <a:pt x="258446" y="260"/>
                          </a:lnTo>
                          <a:cubicBezTo>
                            <a:pt x="383434" y="519"/>
                            <a:pt x="315475" y="182276"/>
                            <a:pt x="307861" y="261061"/>
                          </a:cubicBezTo>
                          <a:lnTo>
                            <a:pt x="80936" y="264168"/>
                          </a:lnTo>
                          <a:cubicBezTo>
                            <a:pt x="77776" y="318401"/>
                            <a:pt x="29294" y="428781"/>
                            <a:pt x="95802" y="435981"/>
                          </a:cubicBezTo>
                          <a:cubicBezTo>
                            <a:pt x="123462" y="438985"/>
                            <a:pt x="152003" y="439141"/>
                            <a:pt x="179610" y="435929"/>
                          </a:cubicBezTo>
                          <a:close/>
                          <a:moveTo>
                            <a:pt x="261140" y="212215"/>
                          </a:moveTo>
                          <a:lnTo>
                            <a:pt x="277767" y="90543"/>
                          </a:lnTo>
                          <a:cubicBezTo>
                            <a:pt x="280512" y="70290"/>
                            <a:pt x="266113" y="52264"/>
                            <a:pt x="245290" y="51539"/>
                          </a:cubicBezTo>
                          <a:cubicBezTo>
                            <a:pt x="183703" y="49468"/>
                            <a:pt x="117195" y="39004"/>
                            <a:pt x="106680" y="96758"/>
                          </a:cubicBezTo>
                          <a:cubicBezTo>
                            <a:pt x="99532" y="136073"/>
                            <a:pt x="92539" y="173471"/>
                            <a:pt x="89742" y="212267"/>
                          </a:cubicBezTo>
                          <a:lnTo>
                            <a:pt x="261140" y="212267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68C70941-65E2-78CD-107A-0FF8B6B0CC9C}"/>
                      </a:ext>
                    </a:extLst>
                  </p:cNvPr>
                  <p:cNvSpPr/>
                  <p:nvPr/>
                </p:nvSpPr>
                <p:spPr>
                  <a:xfrm>
                    <a:off x="-2248476" y="9512146"/>
                    <a:ext cx="333046" cy="488583"/>
                  </a:xfrm>
                  <a:custGeom>
                    <a:avLst/>
                    <a:gdLst>
                      <a:gd name="csX0" fmla="*/ 176110 w 333046"/>
                      <a:gd name="csY0" fmla="*/ 435981 h 488583"/>
                      <a:gd name="csX1" fmla="*/ 290428 w 333046"/>
                      <a:gd name="csY1" fmla="*/ 346527 h 488583"/>
                      <a:gd name="csX2" fmla="*/ 194964 w 333046"/>
                      <a:gd name="csY2" fmla="*/ 486173 h 488583"/>
                      <a:gd name="csX3" fmla="*/ 72826 w 333046"/>
                      <a:gd name="csY3" fmla="*/ 486640 h 488583"/>
                      <a:gd name="csX4" fmla="*/ 1190 w 333046"/>
                      <a:gd name="csY4" fmla="*/ 393145 h 488583"/>
                      <a:gd name="csX5" fmla="*/ 53868 w 333046"/>
                      <a:gd name="csY5" fmla="*/ 74590 h 488583"/>
                      <a:gd name="csX6" fmla="*/ 140007 w 333046"/>
                      <a:gd name="csY6" fmla="*/ 675 h 488583"/>
                      <a:gd name="csX7" fmla="*/ 260903 w 333046"/>
                      <a:gd name="csY7" fmla="*/ 1 h 488583"/>
                      <a:gd name="csX8" fmla="*/ 332746 w 333046"/>
                      <a:gd name="csY8" fmla="*/ 83965 h 488583"/>
                      <a:gd name="csX9" fmla="*/ 305501 w 333046"/>
                      <a:gd name="csY9" fmla="*/ 261527 h 488583"/>
                      <a:gd name="csX10" fmla="*/ 81321 w 333046"/>
                      <a:gd name="csY10" fmla="*/ 263185 h 488583"/>
                      <a:gd name="csX11" fmla="*/ 59773 w 333046"/>
                      <a:gd name="csY11" fmla="*/ 388638 h 488583"/>
                      <a:gd name="csX12" fmla="*/ 97844 w 333046"/>
                      <a:gd name="csY12" fmla="*/ 436085 h 488583"/>
                      <a:gd name="csX13" fmla="*/ 176110 w 333046"/>
                      <a:gd name="csY13" fmla="*/ 435981 h 488583"/>
                      <a:gd name="csX14" fmla="*/ 260903 w 333046"/>
                      <a:gd name="csY14" fmla="*/ 210351 h 488583"/>
                      <a:gd name="csX15" fmla="*/ 277944 w 333046"/>
                      <a:gd name="csY15" fmla="*/ 94791 h 488583"/>
                      <a:gd name="csX16" fmla="*/ 242100 w 333046"/>
                      <a:gd name="csY16" fmla="*/ 50918 h 488583"/>
                      <a:gd name="csX17" fmla="*/ 105873 w 333046"/>
                      <a:gd name="csY17" fmla="*/ 100074 h 488583"/>
                      <a:gd name="csX18" fmla="*/ 88883 w 333046"/>
                      <a:gd name="csY18" fmla="*/ 211594 h 488583"/>
                      <a:gd name="csX19" fmla="*/ 260955 w 333046"/>
                      <a:gd name="csY19" fmla="*/ 210351 h 48858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046" h="488583">
                        <a:moveTo>
                          <a:pt x="176110" y="435981"/>
                        </a:moveTo>
                        <a:cubicBezTo>
                          <a:pt x="273852" y="426606"/>
                          <a:pt x="197037" y="297371"/>
                          <a:pt x="290428" y="346527"/>
                        </a:cubicBezTo>
                        <a:cubicBezTo>
                          <a:pt x="292396" y="409772"/>
                          <a:pt x="270744" y="479699"/>
                          <a:pt x="194964" y="486173"/>
                        </a:cubicBezTo>
                        <a:cubicBezTo>
                          <a:pt x="153941" y="489696"/>
                          <a:pt x="114264" y="488919"/>
                          <a:pt x="72826" y="486640"/>
                        </a:cubicBezTo>
                        <a:cubicBezTo>
                          <a:pt x="26260" y="484050"/>
                          <a:pt x="-6787" y="441420"/>
                          <a:pt x="1190" y="393145"/>
                        </a:cubicBezTo>
                        <a:lnTo>
                          <a:pt x="53868" y="74590"/>
                        </a:lnTo>
                        <a:cubicBezTo>
                          <a:pt x="61068" y="31080"/>
                          <a:pt x="98207" y="882"/>
                          <a:pt x="140007" y="675"/>
                        </a:cubicBezTo>
                        <a:lnTo>
                          <a:pt x="260903" y="1"/>
                        </a:lnTo>
                        <a:cubicBezTo>
                          <a:pt x="307728" y="-258"/>
                          <a:pt x="336320" y="38072"/>
                          <a:pt x="332746" y="83965"/>
                        </a:cubicBezTo>
                        <a:cubicBezTo>
                          <a:pt x="328084" y="144102"/>
                          <a:pt x="320988" y="203048"/>
                          <a:pt x="305501" y="261527"/>
                        </a:cubicBezTo>
                        <a:lnTo>
                          <a:pt x="81321" y="263185"/>
                        </a:lnTo>
                        <a:cubicBezTo>
                          <a:pt x="71168" y="303535"/>
                          <a:pt x="67439" y="345439"/>
                          <a:pt x="59773" y="388638"/>
                        </a:cubicBezTo>
                        <a:cubicBezTo>
                          <a:pt x="55370" y="413450"/>
                          <a:pt x="73396" y="434117"/>
                          <a:pt x="97844" y="436085"/>
                        </a:cubicBezTo>
                        <a:cubicBezTo>
                          <a:pt x="124261" y="438157"/>
                          <a:pt x="150108" y="438416"/>
                          <a:pt x="176110" y="435981"/>
                        </a:cubicBezTo>
                        <a:close/>
                        <a:moveTo>
                          <a:pt x="260903" y="210351"/>
                        </a:moveTo>
                        <a:lnTo>
                          <a:pt x="277944" y="94791"/>
                        </a:lnTo>
                        <a:cubicBezTo>
                          <a:pt x="281311" y="71741"/>
                          <a:pt x="266963" y="51125"/>
                          <a:pt x="242100" y="50918"/>
                        </a:cubicBezTo>
                        <a:cubicBezTo>
                          <a:pt x="179684" y="50400"/>
                          <a:pt x="117113" y="36674"/>
                          <a:pt x="105873" y="100074"/>
                        </a:cubicBezTo>
                        <a:cubicBezTo>
                          <a:pt x="99294" y="137265"/>
                          <a:pt x="92664" y="170623"/>
                          <a:pt x="88883" y="211594"/>
                        </a:cubicBezTo>
                        <a:lnTo>
                          <a:pt x="260955" y="210351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B0348F2B-4F19-B280-55AE-4F1EF59520AA}"/>
                      </a:ext>
                    </a:extLst>
                  </p:cNvPr>
                  <p:cNvSpPr/>
                  <p:nvPr/>
                </p:nvSpPr>
                <p:spPr>
                  <a:xfrm>
                    <a:off x="-1281558" y="9510667"/>
                    <a:ext cx="327919" cy="491062"/>
                  </a:xfrm>
                  <a:custGeom>
                    <a:avLst/>
                    <a:gdLst>
                      <a:gd name="csX0" fmla="*/ 279175 w 327919"/>
                      <a:gd name="csY0" fmla="*/ 424874 h 491062"/>
                      <a:gd name="csX1" fmla="*/ 75041 w 327919"/>
                      <a:gd name="csY1" fmla="*/ 488482 h 491062"/>
                      <a:gd name="csX2" fmla="*/ 89 w 327919"/>
                      <a:gd name="csY2" fmla="*/ 413116 h 491062"/>
                      <a:gd name="csX3" fmla="*/ 13143 w 327919"/>
                      <a:gd name="csY3" fmla="*/ 334591 h 491062"/>
                      <a:gd name="csX4" fmla="*/ 59243 w 327919"/>
                      <a:gd name="csY4" fmla="*/ 326977 h 491062"/>
                      <a:gd name="csX5" fmla="*/ 57274 w 327919"/>
                      <a:gd name="csY5" fmla="*/ 385767 h 491062"/>
                      <a:gd name="csX6" fmla="*/ 94931 w 327919"/>
                      <a:gd name="csY6" fmla="*/ 437202 h 491062"/>
                      <a:gd name="csX7" fmla="*/ 231210 w 327919"/>
                      <a:gd name="csY7" fmla="*/ 388409 h 491062"/>
                      <a:gd name="csX8" fmla="*/ 243176 w 327919"/>
                      <a:gd name="csY8" fmla="*/ 312784 h 491062"/>
                      <a:gd name="csX9" fmla="*/ 200495 w 327919"/>
                      <a:gd name="csY9" fmla="*/ 264457 h 491062"/>
                      <a:gd name="csX10" fmla="*/ 111921 w 327919"/>
                      <a:gd name="csY10" fmla="*/ 263991 h 491062"/>
                      <a:gd name="csX11" fmla="*/ 40492 w 327919"/>
                      <a:gd name="csY11" fmla="*/ 179975 h 491062"/>
                      <a:gd name="csX12" fmla="*/ 131293 w 327919"/>
                      <a:gd name="csY12" fmla="*/ 3760 h 491062"/>
                      <a:gd name="csX13" fmla="*/ 275808 w 327919"/>
                      <a:gd name="csY13" fmla="*/ 5676 h 491062"/>
                      <a:gd name="csX14" fmla="*/ 310720 w 327919"/>
                      <a:gd name="csY14" fmla="*/ 147913 h 491062"/>
                      <a:gd name="csX15" fmla="*/ 268505 w 327919"/>
                      <a:gd name="csY15" fmla="*/ 146773 h 491062"/>
                      <a:gd name="csX16" fmla="*/ 262910 w 327919"/>
                      <a:gd name="csY16" fmla="*/ 64311 h 491062"/>
                      <a:gd name="csX17" fmla="*/ 232453 w 327919"/>
                      <a:gd name="csY17" fmla="*/ 51828 h 491062"/>
                      <a:gd name="csX18" fmla="*/ 168743 w 327919"/>
                      <a:gd name="csY18" fmla="*/ 51569 h 491062"/>
                      <a:gd name="csX19" fmla="*/ 98712 w 327919"/>
                      <a:gd name="csY19" fmla="*/ 167337 h 491062"/>
                      <a:gd name="csX20" fmla="*/ 136939 w 327919"/>
                      <a:gd name="csY20" fmla="*/ 213178 h 491062"/>
                      <a:gd name="csX21" fmla="*/ 231210 w 327919"/>
                      <a:gd name="csY21" fmla="*/ 214421 h 491062"/>
                      <a:gd name="csX22" fmla="*/ 301034 w 327919"/>
                      <a:gd name="csY22" fmla="*/ 294552 h 491062"/>
                      <a:gd name="csX23" fmla="*/ 279123 w 327919"/>
                      <a:gd name="csY23" fmla="*/ 424719 h 49106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</a:cxnLst>
                    <a:rect l="l" t="t" r="r" b="b"/>
                    <a:pathLst>
                      <a:path w="327919" h="491062">
                        <a:moveTo>
                          <a:pt x="279175" y="424874"/>
                        </a:moveTo>
                        <a:cubicBezTo>
                          <a:pt x="253069" y="505057"/>
                          <a:pt x="156104" y="491123"/>
                          <a:pt x="75041" y="488482"/>
                        </a:cubicBezTo>
                        <a:cubicBezTo>
                          <a:pt x="33240" y="487135"/>
                          <a:pt x="1126" y="455072"/>
                          <a:pt x="89" y="413116"/>
                        </a:cubicBezTo>
                        <a:cubicBezTo>
                          <a:pt x="-532" y="387373"/>
                          <a:pt x="1903" y="358729"/>
                          <a:pt x="13143" y="334591"/>
                        </a:cubicBezTo>
                        <a:cubicBezTo>
                          <a:pt x="19203" y="321642"/>
                          <a:pt x="46915" y="326304"/>
                          <a:pt x="59243" y="326977"/>
                        </a:cubicBezTo>
                        <a:cubicBezTo>
                          <a:pt x="66960" y="348058"/>
                          <a:pt x="61366" y="366084"/>
                          <a:pt x="57274" y="385767"/>
                        </a:cubicBezTo>
                        <a:cubicBezTo>
                          <a:pt x="51783" y="412391"/>
                          <a:pt x="67426" y="434975"/>
                          <a:pt x="94931" y="437202"/>
                        </a:cubicBezTo>
                        <a:cubicBezTo>
                          <a:pt x="149008" y="441553"/>
                          <a:pt x="220022" y="448701"/>
                          <a:pt x="231210" y="388409"/>
                        </a:cubicBezTo>
                        <a:cubicBezTo>
                          <a:pt x="235924" y="363080"/>
                          <a:pt x="240430" y="338424"/>
                          <a:pt x="243176" y="312784"/>
                        </a:cubicBezTo>
                        <a:cubicBezTo>
                          <a:pt x="246076" y="285487"/>
                          <a:pt x="227792" y="264613"/>
                          <a:pt x="200495" y="264457"/>
                        </a:cubicBezTo>
                        <a:lnTo>
                          <a:pt x="111921" y="263991"/>
                        </a:lnTo>
                        <a:cubicBezTo>
                          <a:pt x="67064" y="263784"/>
                          <a:pt x="37021" y="225039"/>
                          <a:pt x="40492" y="179975"/>
                        </a:cubicBezTo>
                        <a:cubicBezTo>
                          <a:pt x="45050" y="120253"/>
                          <a:pt x="54115" y="8473"/>
                          <a:pt x="131293" y="3760"/>
                        </a:cubicBezTo>
                        <a:cubicBezTo>
                          <a:pt x="179102" y="859"/>
                          <a:pt x="229190" y="-3854"/>
                          <a:pt x="275808" y="5676"/>
                        </a:cubicBezTo>
                        <a:cubicBezTo>
                          <a:pt x="344440" y="19714"/>
                          <a:pt x="332941" y="134342"/>
                          <a:pt x="310720" y="147913"/>
                        </a:cubicBezTo>
                        <a:cubicBezTo>
                          <a:pt x="300930" y="153921"/>
                          <a:pt x="275238" y="158635"/>
                          <a:pt x="268505" y="146773"/>
                        </a:cubicBezTo>
                        <a:cubicBezTo>
                          <a:pt x="256591" y="125691"/>
                          <a:pt x="284148" y="89174"/>
                          <a:pt x="262910" y="64311"/>
                        </a:cubicBezTo>
                        <a:cubicBezTo>
                          <a:pt x="256436" y="56749"/>
                          <a:pt x="245973" y="51880"/>
                          <a:pt x="232453" y="51828"/>
                        </a:cubicBezTo>
                        <a:lnTo>
                          <a:pt x="168743" y="51569"/>
                        </a:lnTo>
                        <a:cubicBezTo>
                          <a:pt x="107052" y="51310"/>
                          <a:pt x="106844" y="110152"/>
                          <a:pt x="98712" y="167337"/>
                        </a:cubicBezTo>
                        <a:cubicBezTo>
                          <a:pt x="95139" y="192407"/>
                          <a:pt x="111869" y="212867"/>
                          <a:pt x="136939" y="213178"/>
                        </a:cubicBezTo>
                        <a:lnTo>
                          <a:pt x="231210" y="214421"/>
                        </a:lnTo>
                        <a:cubicBezTo>
                          <a:pt x="274203" y="214990"/>
                          <a:pt x="303054" y="250886"/>
                          <a:pt x="301034" y="294552"/>
                        </a:cubicBezTo>
                        <a:cubicBezTo>
                          <a:pt x="299014" y="338942"/>
                          <a:pt x="292746" y="382970"/>
                          <a:pt x="279123" y="424719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5" name="Graphic 2">
                    <a:extLst>
                      <a:ext uri="{FF2B5EF4-FFF2-40B4-BE49-F238E27FC236}">
                        <a16:creationId xmlns:a16="http://schemas.microsoft.com/office/drawing/2014/main" id="{1A80C251-09C1-4615-814D-9039CCF61D8D}"/>
                      </a:ext>
                    </a:extLst>
                  </p:cNvPr>
                  <p:cNvGrpSpPr/>
                  <p:nvPr/>
                </p:nvGrpSpPr>
                <p:grpSpPr>
                  <a:xfrm>
                    <a:off x="-4451188" y="9377517"/>
                    <a:ext cx="1066841" cy="624929"/>
                    <a:chOff x="-4451188" y="9377517"/>
                    <a:chExt cx="1066841" cy="624929"/>
                  </a:xfrm>
                  <a:grpFill/>
                </p:grpSpPr>
                <p:sp>
                  <p:nvSpPr>
                    <p:cNvPr id="150" name="Freeform: Shape 149">
                      <a:extLst>
                        <a:ext uri="{FF2B5EF4-FFF2-40B4-BE49-F238E27FC236}">
                          <a16:creationId xmlns:a16="http://schemas.microsoft.com/office/drawing/2014/main" id="{EFFE00CF-D041-E49F-C24D-F9401581CA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451188" y="9377517"/>
                      <a:ext cx="371147" cy="623860"/>
                    </a:xfrm>
                    <a:custGeom>
                      <a:avLst/>
                      <a:gdLst>
                        <a:gd name="csX0" fmla="*/ 70359 w 371147"/>
                        <a:gd name="csY0" fmla="*/ 622046 h 623860"/>
                        <a:gd name="csX1" fmla="*/ 1158 w 371147"/>
                        <a:gd name="csY1" fmla="*/ 534560 h 623860"/>
                        <a:gd name="csX2" fmla="*/ 51246 w 371147"/>
                        <a:gd name="csY2" fmla="*/ 211135 h 623860"/>
                        <a:gd name="csX3" fmla="*/ 237666 w 371147"/>
                        <a:gd name="csY3" fmla="*/ 136236 h 623860"/>
                        <a:gd name="csX4" fmla="*/ 285734 w 371147"/>
                        <a:gd name="csY4" fmla="*/ 168920 h 623860"/>
                        <a:gd name="csX5" fmla="*/ 315776 w 371147"/>
                        <a:gd name="csY5" fmla="*/ 9280 h 623860"/>
                        <a:gd name="csX6" fmla="*/ 371148 w 371147"/>
                        <a:gd name="csY6" fmla="*/ 8141 h 623860"/>
                        <a:gd name="csX7" fmla="*/ 276358 w 371147"/>
                        <a:gd name="csY7" fmla="*/ 609821 h 623860"/>
                        <a:gd name="csX8" fmla="*/ 229430 w 371147"/>
                        <a:gd name="csY8" fmla="*/ 612567 h 623860"/>
                        <a:gd name="csX9" fmla="*/ 222023 w 371147"/>
                        <a:gd name="csY9" fmla="*/ 587548 h 623860"/>
                        <a:gd name="csX10" fmla="*/ 70463 w 371147"/>
                        <a:gd name="csY10" fmla="*/ 622046 h 623860"/>
                        <a:gd name="csX11" fmla="*/ 234092 w 371147"/>
                        <a:gd name="csY11" fmla="*/ 506485 h 623860"/>
                        <a:gd name="csX12" fmla="*/ 276980 w 371147"/>
                        <a:gd name="csY12" fmla="*/ 232010 h 623860"/>
                        <a:gd name="csX13" fmla="*/ 231657 w 371147"/>
                        <a:gd name="csY13" fmla="*/ 185288 h 623860"/>
                        <a:gd name="csX14" fmla="*/ 154945 w 371147"/>
                        <a:gd name="csY14" fmla="*/ 185288 h 623860"/>
                        <a:gd name="csX15" fmla="*/ 107239 w 371147"/>
                        <a:gd name="csY15" fmla="*/ 226934 h 623860"/>
                        <a:gd name="csX16" fmla="*/ 59171 w 371147"/>
                        <a:gd name="csY16" fmla="*/ 528862 h 623860"/>
                        <a:gd name="csX17" fmla="*/ 88903 w 371147"/>
                        <a:gd name="csY17" fmla="*/ 569834 h 623860"/>
                        <a:gd name="csX18" fmla="*/ 234092 w 371147"/>
                        <a:gd name="csY18" fmla="*/ 506485 h 623860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</a:cxnLst>
                      <a:rect l="l" t="t" r="r" b="b"/>
                      <a:pathLst>
                        <a:path w="371147" h="623860">
                          <a:moveTo>
                            <a:pt x="70359" y="622046"/>
                          </a:moveTo>
                          <a:cubicBezTo>
                            <a:pt x="20737" y="619922"/>
                            <a:pt x="-6042" y="580970"/>
                            <a:pt x="1158" y="534560"/>
                          </a:cubicBezTo>
                          <a:lnTo>
                            <a:pt x="51246" y="211135"/>
                          </a:lnTo>
                          <a:cubicBezTo>
                            <a:pt x="65801" y="117226"/>
                            <a:pt x="160902" y="132455"/>
                            <a:pt x="237666" y="136236"/>
                          </a:cubicBezTo>
                          <a:cubicBezTo>
                            <a:pt x="258747" y="137272"/>
                            <a:pt x="270868" y="153692"/>
                            <a:pt x="285734" y="168920"/>
                          </a:cubicBezTo>
                          <a:lnTo>
                            <a:pt x="315776" y="9280"/>
                          </a:lnTo>
                          <a:cubicBezTo>
                            <a:pt x="320749" y="-5430"/>
                            <a:pt x="360426" y="-199"/>
                            <a:pt x="371148" y="8141"/>
                          </a:cubicBezTo>
                          <a:lnTo>
                            <a:pt x="276358" y="609821"/>
                          </a:lnTo>
                          <a:cubicBezTo>
                            <a:pt x="261182" y="618679"/>
                            <a:pt x="243467" y="620233"/>
                            <a:pt x="229430" y="612567"/>
                          </a:cubicBezTo>
                          <a:cubicBezTo>
                            <a:pt x="221867" y="608423"/>
                            <a:pt x="226995" y="595266"/>
                            <a:pt x="222023" y="587548"/>
                          </a:cubicBezTo>
                          <a:cubicBezTo>
                            <a:pt x="189287" y="630281"/>
                            <a:pt x="133501" y="624739"/>
                            <a:pt x="70463" y="622046"/>
                          </a:cubicBezTo>
                          <a:close/>
                          <a:moveTo>
                            <a:pt x="234092" y="506485"/>
                          </a:moveTo>
                          <a:lnTo>
                            <a:pt x="276980" y="232010"/>
                          </a:lnTo>
                          <a:cubicBezTo>
                            <a:pt x="275737" y="204920"/>
                            <a:pt x="258799" y="185288"/>
                            <a:pt x="231657" y="185288"/>
                          </a:cubicBezTo>
                          <a:lnTo>
                            <a:pt x="154945" y="185288"/>
                          </a:lnTo>
                          <a:cubicBezTo>
                            <a:pt x="131221" y="185185"/>
                            <a:pt x="111072" y="202900"/>
                            <a:pt x="107239" y="226934"/>
                          </a:cubicBezTo>
                          <a:lnTo>
                            <a:pt x="59171" y="528862"/>
                          </a:lnTo>
                          <a:cubicBezTo>
                            <a:pt x="55753" y="550410"/>
                            <a:pt x="68236" y="567244"/>
                            <a:pt x="88903" y="569834"/>
                          </a:cubicBezTo>
                          <a:cubicBezTo>
                            <a:pt x="146916" y="577085"/>
                            <a:pt x="222748" y="578950"/>
                            <a:pt x="234092" y="506485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1" name="Freeform: Shape 150">
                      <a:extLst>
                        <a:ext uri="{FF2B5EF4-FFF2-40B4-BE49-F238E27FC236}">
                          <a16:creationId xmlns:a16="http://schemas.microsoft.com/office/drawing/2014/main" id="{46737E99-FB14-AA7E-23B5-8948E47520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073200" y="9512199"/>
                      <a:ext cx="333787" cy="488403"/>
                    </a:xfrm>
                    <a:custGeom>
                      <a:avLst/>
                      <a:gdLst>
                        <a:gd name="csX0" fmla="*/ 180719 w 333787"/>
                        <a:gd name="csY0" fmla="*/ 435307 h 488403"/>
                        <a:gd name="csX1" fmla="*/ 243861 w 333787"/>
                        <a:gd name="csY1" fmla="*/ 340932 h 488403"/>
                        <a:gd name="csX2" fmla="*/ 288458 w 333787"/>
                        <a:gd name="csY2" fmla="*/ 345283 h 488403"/>
                        <a:gd name="csX3" fmla="*/ 192995 w 333787"/>
                        <a:gd name="csY3" fmla="*/ 486587 h 488403"/>
                        <a:gd name="csX4" fmla="*/ 76399 w 333787"/>
                        <a:gd name="csY4" fmla="*/ 487105 h 488403"/>
                        <a:gd name="csX5" fmla="*/ 1137 w 333787"/>
                        <a:gd name="csY5" fmla="*/ 394490 h 488403"/>
                        <a:gd name="csX6" fmla="*/ 51899 w 333787"/>
                        <a:gd name="csY6" fmla="*/ 79354 h 488403"/>
                        <a:gd name="csX7" fmla="*/ 144720 w 333787"/>
                        <a:gd name="csY7" fmla="*/ 0 h 488403"/>
                        <a:gd name="csX8" fmla="*/ 259659 w 333787"/>
                        <a:gd name="csY8" fmla="*/ 0 h 488403"/>
                        <a:gd name="csX9" fmla="*/ 333522 w 333787"/>
                        <a:gd name="csY9" fmla="*/ 84689 h 488403"/>
                        <a:gd name="csX10" fmla="*/ 307468 w 333787"/>
                        <a:gd name="csY10" fmla="*/ 260231 h 488403"/>
                        <a:gd name="csX11" fmla="*/ 80853 w 333787"/>
                        <a:gd name="csY11" fmla="*/ 263805 h 488403"/>
                        <a:gd name="csX12" fmla="*/ 67904 w 333787"/>
                        <a:gd name="csY12" fmla="*/ 422617 h 488403"/>
                        <a:gd name="csX13" fmla="*/ 180667 w 333787"/>
                        <a:gd name="csY13" fmla="*/ 435359 h 488403"/>
                        <a:gd name="csX14" fmla="*/ 260280 w 333787"/>
                        <a:gd name="csY14" fmla="*/ 210557 h 488403"/>
                        <a:gd name="csX15" fmla="*/ 277529 w 333787"/>
                        <a:gd name="csY15" fmla="*/ 96395 h 488403"/>
                        <a:gd name="csX16" fmla="*/ 240545 w 333787"/>
                        <a:gd name="csY16" fmla="*/ 50658 h 488403"/>
                        <a:gd name="csX17" fmla="*/ 106856 w 333787"/>
                        <a:gd name="csY17" fmla="*/ 96137 h 488403"/>
                        <a:gd name="csX18" fmla="*/ 87069 w 333787"/>
                        <a:gd name="csY18" fmla="*/ 211541 h 488403"/>
                        <a:gd name="csX19" fmla="*/ 260280 w 333787"/>
                        <a:gd name="csY19" fmla="*/ 210609 h 488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</a:cxnLst>
                      <a:rect l="l" t="t" r="r" b="b"/>
                      <a:pathLst>
                        <a:path w="333787" h="488403">
                          <a:moveTo>
                            <a:pt x="180719" y="435307"/>
                          </a:moveTo>
                          <a:cubicBezTo>
                            <a:pt x="245311" y="426761"/>
                            <a:pt x="228528" y="353156"/>
                            <a:pt x="243861" y="340932"/>
                          </a:cubicBezTo>
                          <a:cubicBezTo>
                            <a:pt x="252666" y="333887"/>
                            <a:pt x="282657" y="335390"/>
                            <a:pt x="288458" y="345283"/>
                          </a:cubicBezTo>
                          <a:cubicBezTo>
                            <a:pt x="293534" y="353881"/>
                            <a:pt x="295244" y="479128"/>
                            <a:pt x="192995" y="486587"/>
                          </a:cubicBezTo>
                          <a:cubicBezTo>
                            <a:pt x="154458" y="489384"/>
                            <a:pt x="115765" y="488451"/>
                            <a:pt x="76399" y="487105"/>
                          </a:cubicBezTo>
                          <a:cubicBezTo>
                            <a:pt x="27606" y="485395"/>
                            <a:pt x="-6788" y="443698"/>
                            <a:pt x="1137" y="394490"/>
                          </a:cubicBezTo>
                          <a:lnTo>
                            <a:pt x="51899" y="79354"/>
                          </a:lnTo>
                          <a:cubicBezTo>
                            <a:pt x="59565" y="31804"/>
                            <a:pt x="98517" y="0"/>
                            <a:pt x="144720" y="0"/>
                          </a:cubicBezTo>
                          <a:lnTo>
                            <a:pt x="259659" y="0"/>
                          </a:lnTo>
                          <a:cubicBezTo>
                            <a:pt x="305137" y="-103"/>
                            <a:pt x="337044" y="37864"/>
                            <a:pt x="333522" y="84689"/>
                          </a:cubicBezTo>
                          <a:cubicBezTo>
                            <a:pt x="329171" y="142806"/>
                            <a:pt x="317724" y="199214"/>
                            <a:pt x="307468" y="260231"/>
                          </a:cubicBezTo>
                          <a:lnTo>
                            <a:pt x="80853" y="263805"/>
                          </a:lnTo>
                          <a:cubicBezTo>
                            <a:pt x="74897" y="300530"/>
                            <a:pt x="49620" y="400395"/>
                            <a:pt x="67904" y="422617"/>
                          </a:cubicBezTo>
                          <a:cubicBezTo>
                            <a:pt x="84427" y="442714"/>
                            <a:pt x="155028" y="438777"/>
                            <a:pt x="180667" y="435359"/>
                          </a:cubicBezTo>
                          <a:close/>
                          <a:moveTo>
                            <a:pt x="260280" y="210557"/>
                          </a:moveTo>
                          <a:lnTo>
                            <a:pt x="277529" y="96395"/>
                          </a:lnTo>
                          <a:cubicBezTo>
                            <a:pt x="281207" y="72051"/>
                            <a:pt x="266755" y="50503"/>
                            <a:pt x="240545" y="50658"/>
                          </a:cubicBezTo>
                          <a:cubicBezTo>
                            <a:pt x="183672" y="50969"/>
                            <a:pt x="117060" y="36621"/>
                            <a:pt x="106856" y="96137"/>
                          </a:cubicBezTo>
                          <a:lnTo>
                            <a:pt x="87069" y="211541"/>
                          </a:lnTo>
                          <a:lnTo>
                            <a:pt x="260280" y="210609"/>
                          </a:ln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52" name="Freeform: Shape 151">
                      <a:extLst>
                        <a:ext uri="{FF2B5EF4-FFF2-40B4-BE49-F238E27FC236}">
                          <a16:creationId xmlns:a16="http://schemas.microsoft.com/office/drawing/2014/main" id="{8535D743-A79E-E6FB-5583-9A9EC957D8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711745" y="9512044"/>
                      <a:ext cx="327398" cy="490403"/>
                    </a:xfrm>
                    <a:custGeom>
                      <a:avLst/>
                      <a:gdLst>
                        <a:gd name="csX0" fmla="*/ 280832 w 327398"/>
                        <a:gd name="csY0" fmla="*/ 415935 h 490403"/>
                        <a:gd name="csX1" fmla="*/ 71621 w 327398"/>
                        <a:gd name="csY1" fmla="*/ 486587 h 490403"/>
                        <a:gd name="csX2" fmla="*/ 2834 w 327398"/>
                        <a:gd name="csY2" fmla="*/ 430387 h 490403"/>
                        <a:gd name="csX3" fmla="*/ 13453 w 327398"/>
                        <a:gd name="csY3" fmla="*/ 332593 h 490403"/>
                        <a:gd name="csX4" fmla="*/ 92082 w 327398"/>
                        <a:gd name="csY4" fmla="*/ 435722 h 490403"/>
                        <a:gd name="csX5" fmla="*/ 229708 w 327398"/>
                        <a:gd name="csY5" fmla="*/ 391072 h 490403"/>
                        <a:gd name="csX6" fmla="*/ 206244 w 327398"/>
                        <a:gd name="csY6" fmla="*/ 264065 h 490403"/>
                        <a:gd name="csX7" fmla="*/ 106637 w 327398"/>
                        <a:gd name="csY7" fmla="*/ 262096 h 490403"/>
                        <a:gd name="csX8" fmla="*/ 38937 w 327398"/>
                        <a:gd name="csY8" fmla="*/ 179324 h 490403"/>
                        <a:gd name="csX9" fmla="*/ 144760 w 327398"/>
                        <a:gd name="csY9" fmla="*/ 311 h 490403"/>
                        <a:gd name="csX10" fmla="*/ 253172 w 327398"/>
                        <a:gd name="csY10" fmla="*/ 0 h 490403"/>
                        <a:gd name="csX11" fmla="*/ 325016 w 327398"/>
                        <a:gd name="csY11" fmla="*/ 61847 h 490403"/>
                        <a:gd name="csX12" fmla="*/ 315381 w 327398"/>
                        <a:gd name="csY12" fmla="*/ 141252 h 490403"/>
                        <a:gd name="csX13" fmla="*/ 268193 w 327398"/>
                        <a:gd name="csY13" fmla="*/ 145862 h 490403"/>
                        <a:gd name="csX14" fmla="*/ 262858 w 327398"/>
                        <a:gd name="csY14" fmla="*/ 64695 h 490403"/>
                        <a:gd name="csX15" fmla="*/ 227947 w 327398"/>
                        <a:gd name="csY15" fmla="*/ 50555 h 490403"/>
                        <a:gd name="csX16" fmla="*/ 163977 w 327398"/>
                        <a:gd name="csY16" fmla="*/ 50555 h 490403"/>
                        <a:gd name="csX17" fmla="*/ 98504 w 327398"/>
                        <a:gd name="csY17" fmla="*/ 158294 h 490403"/>
                        <a:gd name="csX18" fmla="*/ 102700 w 327398"/>
                        <a:gd name="csY18" fmla="*/ 193361 h 490403"/>
                        <a:gd name="csX19" fmla="*/ 138441 w 327398"/>
                        <a:gd name="csY19" fmla="*/ 211904 h 490403"/>
                        <a:gd name="csX20" fmla="*/ 221679 w 327398"/>
                        <a:gd name="csY20" fmla="*/ 212163 h 490403"/>
                        <a:gd name="csX21" fmla="*/ 301188 w 327398"/>
                        <a:gd name="csY21" fmla="*/ 294055 h 490403"/>
                        <a:gd name="csX22" fmla="*/ 280936 w 327398"/>
                        <a:gd name="csY22" fmla="*/ 415883 h 490403"/>
                      </a:gdLst>
                      <a:ahLst/>
                      <a:cxnLst>
                        <a:cxn ang="0">
                          <a:pos x="csX0" y="csY0"/>
                        </a:cxn>
                        <a:cxn ang="0">
                          <a:pos x="csX1" y="csY1"/>
                        </a:cxn>
                        <a:cxn ang="0">
                          <a:pos x="csX2" y="csY2"/>
                        </a:cxn>
                        <a:cxn ang="0">
                          <a:pos x="csX3" y="csY3"/>
                        </a:cxn>
                        <a:cxn ang="0">
                          <a:pos x="csX4" y="csY4"/>
                        </a:cxn>
                        <a:cxn ang="0">
                          <a:pos x="csX5" y="csY5"/>
                        </a:cxn>
                        <a:cxn ang="0">
                          <a:pos x="csX6" y="csY6"/>
                        </a:cxn>
                        <a:cxn ang="0">
                          <a:pos x="csX7" y="csY7"/>
                        </a:cxn>
                        <a:cxn ang="0">
                          <a:pos x="csX8" y="csY8"/>
                        </a:cxn>
                        <a:cxn ang="0">
                          <a:pos x="csX9" y="csY9"/>
                        </a:cxn>
                        <a:cxn ang="0">
                          <a:pos x="csX10" y="csY10"/>
                        </a:cxn>
                        <a:cxn ang="0">
                          <a:pos x="csX11" y="csY11"/>
                        </a:cxn>
                        <a:cxn ang="0">
                          <a:pos x="csX12" y="csY12"/>
                        </a:cxn>
                        <a:cxn ang="0">
                          <a:pos x="csX13" y="csY13"/>
                        </a:cxn>
                        <a:cxn ang="0">
                          <a:pos x="csX14" y="csY14"/>
                        </a:cxn>
                        <a:cxn ang="0">
                          <a:pos x="csX15" y="csY15"/>
                        </a:cxn>
                        <a:cxn ang="0">
                          <a:pos x="csX16" y="csY16"/>
                        </a:cxn>
                        <a:cxn ang="0">
                          <a:pos x="csX17" y="csY17"/>
                        </a:cxn>
                        <a:cxn ang="0">
                          <a:pos x="csX18" y="csY18"/>
                        </a:cxn>
                        <a:cxn ang="0">
                          <a:pos x="csX19" y="csY19"/>
                        </a:cxn>
                        <a:cxn ang="0">
                          <a:pos x="csX20" y="csY20"/>
                        </a:cxn>
                        <a:cxn ang="0">
                          <a:pos x="csX21" y="csY21"/>
                        </a:cxn>
                        <a:cxn ang="0">
                          <a:pos x="csX22" y="csY22"/>
                        </a:cxn>
                      </a:cxnLst>
                      <a:rect l="l" t="t" r="r" b="b"/>
                      <a:pathLst>
                        <a:path w="327398" h="490403">
                          <a:moveTo>
                            <a:pt x="280832" y="415935"/>
                          </a:moveTo>
                          <a:cubicBezTo>
                            <a:pt x="257627" y="502800"/>
                            <a:pt x="157606" y="492596"/>
                            <a:pt x="71621" y="486587"/>
                          </a:cubicBezTo>
                          <a:cubicBezTo>
                            <a:pt x="39196" y="484308"/>
                            <a:pt x="7962" y="462863"/>
                            <a:pt x="2834" y="430387"/>
                          </a:cubicBezTo>
                          <a:cubicBezTo>
                            <a:pt x="-2293" y="397909"/>
                            <a:pt x="-1413" y="360615"/>
                            <a:pt x="13453" y="332593"/>
                          </a:cubicBezTo>
                          <a:cubicBezTo>
                            <a:pt x="122539" y="287011"/>
                            <a:pt x="4595" y="428211"/>
                            <a:pt x="92082" y="435722"/>
                          </a:cubicBezTo>
                          <a:cubicBezTo>
                            <a:pt x="139684" y="439814"/>
                            <a:pt x="217328" y="447687"/>
                            <a:pt x="229708" y="391072"/>
                          </a:cubicBezTo>
                          <a:cubicBezTo>
                            <a:pt x="238669" y="350152"/>
                            <a:pt x="260942" y="265152"/>
                            <a:pt x="206244" y="264065"/>
                          </a:cubicBezTo>
                          <a:lnTo>
                            <a:pt x="106637" y="262096"/>
                          </a:lnTo>
                          <a:cubicBezTo>
                            <a:pt x="66131" y="261319"/>
                            <a:pt x="35985" y="220037"/>
                            <a:pt x="38937" y="179324"/>
                          </a:cubicBezTo>
                          <a:cubicBezTo>
                            <a:pt x="43962" y="110226"/>
                            <a:pt x="56134" y="570"/>
                            <a:pt x="144760" y="311"/>
                          </a:cubicBezTo>
                          <a:lnTo>
                            <a:pt x="253172" y="0"/>
                          </a:lnTo>
                          <a:cubicBezTo>
                            <a:pt x="290311" y="-103"/>
                            <a:pt x="318696" y="25433"/>
                            <a:pt x="325016" y="61847"/>
                          </a:cubicBezTo>
                          <a:cubicBezTo>
                            <a:pt x="329574" y="88004"/>
                            <a:pt x="328227" y="116390"/>
                            <a:pt x="315381" y="141252"/>
                          </a:cubicBezTo>
                          <a:cubicBezTo>
                            <a:pt x="308492" y="154513"/>
                            <a:pt x="276067" y="157051"/>
                            <a:pt x="268193" y="145862"/>
                          </a:cubicBezTo>
                          <a:cubicBezTo>
                            <a:pt x="254415" y="126231"/>
                            <a:pt x="283318" y="92200"/>
                            <a:pt x="262858" y="64695"/>
                          </a:cubicBezTo>
                          <a:cubicBezTo>
                            <a:pt x="255141" y="54336"/>
                            <a:pt x="242968" y="50555"/>
                            <a:pt x="227947" y="50555"/>
                          </a:cubicBezTo>
                          <a:lnTo>
                            <a:pt x="163977" y="50555"/>
                          </a:lnTo>
                          <a:cubicBezTo>
                            <a:pt x="103581" y="50555"/>
                            <a:pt x="105860" y="122294"/>
                            <a:pt x="98504" y="158294"/>
                          </a:cubicBezTo>
                          <a:cubicBezTo>
                            <a:pt x="95656" y="172279"/>
                            <a:pt x="96744" y="183519"/>
                            <a:pt x="102700" y="193361"/>
                          </a:cubicBezTo>
                          <a:cubicBezTo>
                            <a:pt x="109641" y="204963"/>
                            <a:pt x="122124" y="211853"/>
                            <a:pt x="138441" y="211904"/>
                          </a:cubicBezTo>
                          <a:lnTo>
                            <a:pt x="221679" y="212163"/>
                          </a:lnTo>
                          <a:cubicBezTo>
                            <a:pt x="267054" y="212319"/>
                            <a:pt x="301966" y="246816"/>
                            <a:pt x="301188" y="294055"/>
                          </a:cubicBezTo>
                          <a:cubicBezTo>
                            <a:pt x="300515" y="334872"/>
                            <a:pt x="291606" y="375999"/>
                            <a:pt x="280936" y="415883"/>
                          </a:cubicBezTo>
                          <a:close/>
                        </a:path>
                      </a:pathLst>
                    </a:custGeom>
                    <a:grpFill/>
                    <a:ln w="5174" cap="flat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F2B98DD6-8C9A-8A32-D580-722B80F641FA}"/>
                      </a:ext>
                    </a:extLst>
                  </p:cNvPr>
                  <p:cNvSpPr/>
                  <p:nvPr/>
                </p:nvSpPr>
                <p:spPr>
                  <a:xfrm>
                    <a:off x="-1878616" y="9513672"/>
                    <a:ext cx="345722" cy="487808"/>
                  </a:xfrm>
                  <a:custGeom>
                    <a:avLst/>
                    <a:gdLst>
                      <a:gd name="csX0" fmla="*/ 345618 w 345722"/>
                      <a:gd name="csY0" fmla="*/ 8679 h 487808"/>
                      <a:gd name="csX1" fmla="*/ 272221 w 345722"/>
                      <a:gd name="csY1" fmla="*/ 470662 h 487808"/>
                      <a:gd name="csX2" fmla="*/ 226432 w 345722"/>
                      <a:gd name="csY2" fmla="*/ 476515 h 487808"/>
                      <a:gd name="csX3" fmla="*/ 217989 w 345722"/>
                      <a:gd name="csY3" fmla="*/ 451497 h 487808"/>
                      <a:gd name="csX4" fmla="*/ 64254 w 345722"/>
                      <a:gd name="csY4" fmla="*/ 485321 h 487808"/>
                      <a:gd name="csX5" fmla="*/ 905 w 345722"/>
                      <a:gd name="csY5" fmla="*/ 405241 h 487808"/>
                      <a:gd name="csX6" fmla="*/ 63425 w 345722"/>
                      <a:gd name="csY6" fmla="*/ 8058 h 487808"/>
                      <a:gd name="csX7" fmla="*/ 119263 w 345722"/>
                      <a:gd name="csY7" fmla="*/ 7333 h 487808"/>
                      <a:gd name="csX8" fmla="*/ 60006 w 345722"/>
                      <a:gd name="csY8" fmla="*/ 398767 h 487808"/>
                      <a:gd name="csX9" fmla="*/ 171112 w 345722"/>
                      <a:gd name="csY9" fmla="*/ 433005 h 487808"/>
                      <a:gd name="csX10" fmla="*/ 230627 w 345722"/>
                      <a:gd name="csY10" fmla="*/ 370071 h 487808"/>
                      <a:gd name="csX11" fmla="*/ 289263 w 345722"/>
                      <a:gd name="csY11" fmla="*/ 9923 h 487808"/>
                      <a:gd name="csX12" fmla="*/ 345722 w 345722"/>
                      <a:gd name="csY12" fmla="*/ 8783 h 48780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5722" h="487808">
                        <a:moveTo>
                          <a:pt x="345618" y="8679"/>
                        </a:moveTo>
                        <a:lnTo>
                          <a:pt x="272221" y="470662"/>
                        </a:lnTo>
                        <a:cubicBezTo>
                          <a:pt x="269942" y="484855"/>
                          <a:pt x="235083" y="483404"/>
                          <a:pt x="226432" y="476515"/>
                        </a:cubicBezTo>
                        <a:cubicBezTo>
                          <a:pt x="219750" y="470766"/>
                          <a:pt x="224153" y="460251"/>
                          <a:pt x="217989" y="451497"/>
                        </a:cubicBezTo>
                        <a:cubicBezTo>
                          <a:pt x="187998" y="494126"/>
                          <a:pt x="118227" y="489257"/>
                          <a:pt x="64254" y="485321"/>
                        </a:cubicBezTo>
                        <a:cubicBezTo>
                          <a:pt x="24939" y="482472"/>
                          <a:pt x="-5725" y="447353"/>
                          <a:pt x="905" y="405241"/>
                        </a:cubicBezTo>
                        <a:lnTo>
                          <a:pt x="63425" y="8058"/>
                        </a:lnTo>
                        <a:cubicBezTo>
                          <a:pt x="76219" y="-2820"/>
                          <a:pt x="104086" y="-1421"/>
                          <a:pt x="119263" y="7333"/>
                        </a:cubicBezTo>
                        <a:lnTo>
                          <a:pt x="60006" y="398767"/>
                        </a:lnTo>
                        <a:cubicBezTo>
                          <a:pt x="52496" y="448493"/>
                          <a:pt x="145990" y="437201"/>
                          <a:pt x="171112" y="433005"/>
                        </a:cubicBezTo>
                        <a:cubicBezTo>
                          <a:pt x="204988" y="427359"/>
                          <a:pt x="225293" y="402962"/>
                          <a:pt x="230627" y="370071"/>
                        </a:cubicBezTo>
                        <a:lnTo>
                          <a:pt x="289263" y="9923"/>
                        </a:lnTo>
                        <a:cubicBezTo>
                          <a:pt x="295841" y="-2872"/>
                          <a:pt x="331167" y="-3338"/>
                          <a:pt x="345722" y="87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005E7BDA-E29B-2527-E9FC-31DEEAE686F8}"/>
                      </a:ext>
                    </a:extLst>
                  </p:cNvPr>
                  <p:cNvSpPr/>
                  <p:nvPr/>
                </p:nvSpPr>
                <p:spPr>
                  <a:xfrm>
                    <a:off x="-2824984" y="9510309"/>
                    <a:ext cx="325216" cy="490464"/>
                  </a:xfrm>
                  <a:custGeom>
                    <a:avLst/>
                    <a:gdLst>
                      <a:gd name="csX0" fmla="*/ 60240 w 325216"/>
                      <a:gd name="csY0" fmla="*/ 389647 h 490464"/>
                      <a:gd name="csX1" fmla="*/ 193567 w 325216"/>
                      <a:gd name="csY1" fmla="*/ 429945 h 490464"/>
                      <a:gd name="csX2" fmla="*/ 244795 w 325216"/>
                      <a:gd name="csY2" fmla="*/ 326713 h 490464"/>
                      <a:gd name="csX3" fmla="*/ 285301 w 325216"/>
                      <a:gd name="csY3" fmla="*/ 326350 h 490464"/>
                      <a:gd name="csX4" fmla="*/ 188025 w 325216"/>
                      <a:gd name="csY4" fmla="*/ 487855 h 490464"/>
                      <a:gd name="csX5" fmla="*/ 71739 w 325216"/>
                      <a:gd name="csY5" fmla="*/ 488373 h 490464"/>
                      <a:gd name="csX6" fmla="*/ 414 w 325216"/>
                      <a:gd name="csY6" fmla="*/ 408139 h 490464"/>
                      <a:gd name="csX7" fmla="*/ 50554 w 325216"/>
                      <a:gd name="csY7" fmla="*/ 85595 h 490464"/>
                      <a:gd name="csX8" fmla="*/ 254170 w 325216"/>
                      <a:gd name="csY8" fmla="*/ 2253 h 490464"/>
                      <a:gd name="csX9" fmla="*/ 323890 w 325216"/>
                      <a:gd name="csY9" fmla="*/ 66740 h 490464"/>
                      <a:gd name="csX10" fmla="*/ 311977 w 325216"/>
                      <a:gd name="csY10" fmla="*/ 150808 h 490464"/>
                      <a:gd name="csX11" fmla="*/ 264426 w 325216"/>
                      <a:gd name="csY11" fmla="*/ 158837 h 490464"/>
                      <a:gd name="csX12" fmla="*/ 234435 w 325216"/>
                      <a:gd name="csY12" fmla="*/ 52600 h 490464"/>
                      <a:gd name="csX13" fmla="*/ 164509 w 325216"/>
                      <a:gd name="csY13" fmla="*/ 52030 h 490464"/>
                      <a:gd name="csX14" fmla="*/ 106236 w 325216"/>
                      <a:gd name="csY14" fmla="*/ 97871 h 490464"/>
                      <a:gd name="csX15" fmla="*/ 60189 w 325216"/>
                      <a:gd name="csY15" fmla="*/ 389647 h 49046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5216" h="490464">
                        <a:moveTo>
                          <a:pt x="60240" y="389647"/>
                        </a:moveTo>
                        <a:cubicBezTo>
                          <a:pt x="48845" y="461904"/>
                          <a:pt x="173262" y="439010"/>
                          <a:pt x="193567" y="429945"/>
                        </a:cubicBezTo>
                        <a:cubicBezTo>
                          <a:pt x="238424" y="410003"/>
                          <a:pt x="216410" y="338419"/>
                          <a:pt x="244795" y="326713"/>
                        </a:cubicBezTo>
                        <a:cubicBezTo>
                          <a:pt x="254222" y="322828"/>
                          <a:pt x="278308" y="317130"/>
                          <a:pt x="285301" y="326350"/>
                        </a:cubicBezTo>
                        <a:cubicBezTo>
                          <a:pt x="282763" y="395655"/>
                          <a:pt x="271212" y="479878"/>
                          <a:pt x="188025" y="487855"/>
                        </a:cubicBezTo>
                        <a:cubicBezTo>
                          <a:pt x="149229" y="491584"/>
                          <a:pt x="112193" y="490911"/>
                          <a:pt x="71739" y="488373"/>
                        </a:cubicBezTo>
                        <a:cubicBezTo>
                          <a:pt x="34497" y="486042"/>
                          <a:pt x="-4455" y="450716"/>
                          <a:pt x="414" y="408139"/>
                        </a:cubicBezTo>
                        <a:cubicBezTo>
                          <a:pt x="12949" y="299157"/>
                          <a:pt x="32270" y="193437"/>
                          <a:pt x="50554" y="85595"/>
                        </a:cubicBezTo>
                        <a:cubicBezTo>
                          <a:pt x="67596" y="-14841"/>
                          <a:pt x="164043" y="-441"/>
                          <a:pt x="254170" y="2253"/>
                        </a:cubicBezTo>
                        <a:cubicBezTo>
                          <a:pt x="291309" y="3392"/>
                          <a:pt x="320057" y="29964"/>
                          <a:pt x="323890" y="66740"/>
                        </a:cubicBezTo>
                        <a:cubicBezTo>
                          <a:pt x="326791" y="94867"/>
                          <a:pt x="325806" y="124858"/>
                          <a:pt x="311977" y="150808"/>
                        </a:cubicBezTo>
                        <a:cubicBezTo>
                          <a:pt x="305502" y="162929"/>
                          <a:pt x="272403" y="167487"/>
                          <a:pt x="264426" y="158837"/>
                        </a:cubicBezTo>
                        <a:cubicBezTo>
                          <a:pt x="253290" y="140604"/>
                          <a:pt x="294262" y="53118"/>
                          <a:pt x="234435" y="52600"/>
                        </a:cubicBezTo>
                        <a:lnTo>
                          <a:pt x="164509" y="52030"/>
                        </a:lnTo>
                        <a:cubicBezTo>
                          <a:pt x="136693" y="51771"/>
                          <a:pt x="110846" y="68761"/>
                          <a:pt x="106236" y="97871"/>
                        </a:cubicBezTo>
                        <a:lnTo>
                          <a:pt x="60189" y="38964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A7A1A63F-FD42-D50E-0ADD-3006AB52038A}"/>
                      </a:ext>
                    </a:extLst>
                  </p:cNvPr>
                  <p:cNvSpPr/>
                  <p:nvPr/>
                </p:nvSpPr>
                <p:spPr>
                  <a:xfrm>
                    <a:off x="-2463022" y="9408273"/>
                    <a:ext cx="217998" cy="586711"/>
                  </a:xfrm>
                  <a:custGeom>
                    <a:avLst/>
                    <a:gdLst>
                      <a:gd name="csX0" fmla="*/ 145395 w 217998"/>
                      <a:gd name="csY0" fmla="*/ 541254 h 586711"/>
                      <a:gd name="csX1" fmla="*/ 136745 w 217998"/>
                      <a:gd name="csY1" fmla="*/ 581345 h 586711"/>
                      <a:gd name="csX2" fmla="*/ 53973 w 217998"/>
                      <a:gd name="csY2" fmla="*/ 582744 h 586711"/>
                      <a:gd name="csX3" fmla="*/ 880 w 217998"/>
                      <a:gd name="csY3" fmla="*/ 503959 h 586711"/>
                      <a:gd name="csX4" fmla="*/ 52470 w 217998"/>
                      <a:gd name="csY4" fmla="*/ 161888 h 586711"/>
                      <a:gd name="csX5" fmla="*/ 15435 w 217998"/>
                      <a:gd name="csY5" fmla="*/ 152824 h 586711"/>
                      <a:gd name="csX6" fmla="*/ 18595 w 217998"/>
                      <a:gd name="csY6" fmla="*/ 114390 h 586711"/>
                      <a:gd name="csX7" fmla="*/ 57547 w 217998"/>
                      <a:gd name="csY7" fmla="*/ 105740 h 586711"/>
                      <a:gd name="csX8" fmla="*/ 80182 w 217998"/>
                      <a:gd name="csY8" fmla="*/ 13177 h 586711"/>
                      <a:gd name="csX9" fmla="*/ 133689 w 217998"/>
                      <a:gd name="csY9" fmla="*/ 1471 h 586711"/>
                      <a:gd name="csX10" fmla="*/ 121724 w 217998"/>
                      <a:gd name="csY10" fmla="*/ 105170 h 586711"/>
                      <a:gd name="csX11" fmla="*/ 217290 w 217998"/>
                      <a:gd name="csY11" fmla="*/ 110194 h 586711"/>
                      <a:gd name="csX12" fmla="*/ 201492 w 217998"/>
                      <a:gd name="csY12" fmla="*/ 154844 h 586711"/>
                      <a:gd name="csX13" fmla="*/ 112452 w 217998"/>
                      <a:gd name="csY13" fmla="*/ 159454 h 586711"/>
                      <a:gd name="csX14" fmla="*/ 58842 w 217998"/>
                      <a:gd name="csY14" fmla="*/ 492616 h 586711"/>
                      <a:gd name="csX15" fmla="*/ 66715 w 217998"/>
                      <a:gd name="csY15" fmla="*/ 522503 h 586711"/>
                      <a:gd name="csX16" fmla="*/ 145343 w 217998"/>
                      <a:gd name="csY16" fmla="*/ 541357 h 58671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7998" h="586711">
                        <a:moveTo>
                          <a:pt x="145395" y="541254"/>
                        </a:moveTo>
                        <a:cubicBezTo>
                          <a:pt x="153113" y="547987"/>
                          <a:pt x="146535" y="578392"/>
                          <a:pt x="136745" y="581345"/>
                        </a:cubicBezTo>
                        <a:cubicBezTo>
                          <a:pt x="110639" y="589374"/>
                          <a:pt x="80648" y="587146"/>
                          <a:pt x="53973" y="582744"/>
                        </a:cubicBezTo>
                        <a:cubicBezTo>
                          <a:pt x="17196" y="576632"/>
                          <a:pt x="-4766" y="541357"/>
                          <a:pt x="880" y="503959"/>
                        </a:cubicBezTo>
                        <a:lnTo>
                          <a:pt x="52470" y="161888"/>
                        </a:lnTo>
                        <a:cubicBezTo>
                          <a:pt x="41748" y="153704"/>
                          <a:pt x="25070" y="162095"/>
                          <a:pt x="15435" y="152824"/>
                        </a:cubicBezTo>
                        <a:cubicBezTo>
                          <a:pt x="5231" y="142982"/>
                          <a:pt x="13570" y="124387"/>
                          <a:pt x="18595" y="114390"/>
                        </a:cubicBezTo>
                        <a:cubicBezTo>
                          <a:pt x="23619" y="104393"/>
                          <a:pt x="46099" y="109832"/>
                          <a:pt x="57547" y="105740"/>
                        </a:cubicBezTo>
                        <a:cubicBezTo>
                          <a:pt x="75261" y="79478"/>
                          <a:pt x="63866" y="41044"/>
                          <a:pt x="80182" y="13177"/>
                        </a:cubicBezTo>
                        <a:cubicBezTo>
                          <a:pt x="88936" y="-1792"/>
                          <a:pt x="119341" y="-1171"/>
                          <a:pt x="133689" y="1471"/>
                        </a:cubicBezTo>
                        <a:lnTo>
                          <a:pt x="121724" y="105170"/>
                        </a:lnTo>
                        <a:lnTo>
                          <a:pt x="217290" y="110194"/>
                        </a:lnTo>
                        <a:cubicBezTo>
                          <a:pt x="219777" y="122626"/>
                          <a:pt x="215995" y="150493"/>
                          <a:pt x="201492" y="154844"/>
                        </a:cubicBezTo>
                        <a:cubicBezTo>
                          <a:pt x="172848" y="163390"/>
                          <a:pt x="144618" y="153031"/>
                          <a:pt x="112452" y="159454"/>
                        </a:cubicBezTo>
                        <a:lnTo>
                          <a:pt x="58842" y="492616"/>
                        </a:lnTo>
                        <a:cubicBezTo>
                          <a:pt x="56925" y="504374"/>
                          <a:pt x="62001" y="516080"/>
                          <a:pt x="66715" y="522503"/>
                        </a:cubicBezTo>
                        <a:cubicBezTo>
                          <a:pt x="84585" y="546692"/>
                          <a:pt x="126903" y="525248"/>
                          <a:pt x="145343" y="541357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119BD28B-8B36-359E-F194-FB5022BA2930}"/>
                      </a:ext>
                    </a:extLst>
                  </p:cNvPr>
                  <p:cNvSpPr/>
                  <p:nvPr/>
                </p:nvSpPr>
                <p:spPr>
                  <a:xfrm>
                    <a:off x="-1510569" y="9511394"/>
                    <a:ext cx="255369" cy="483531"/>
                  </a:xfrm>
                  <a:custGeom>
                    <a:avLst/>
                    <a:gdLst>
                      <a:gd name="csX0" fmla="*/ 234799 w 255369"/>
                      <a:gd name="csY0" fmla="*/ 51981 h 483531"/>
                      <a:gd name="csX1" fmla="*/ 114369 w 255369"/>
                      <a:gd name="csY1" fmla="*/ 137240 h 483531"/>
                      <a:gd name="csX2" fmla="*/ 56977 w 255369"/>
                      <a:gd name="csY2" fmla="*/ 476825 h 483531"/>
                      <a:gd name="csX3" fmla="*/ 0 w 255369"/>
                      <a:gd name="csY3" fmla="*/ 476255 h 483531"/>
                      <a:gd name="csX4" fmla="*/ 75676 w 255369"/>
                      <a:gd name="csY4" fmla="*/ 10647 h 483531"/>
                      <a:gd name="csX5" fmla="*/ 123279 w 255369"/>
                      <a:gd name="csY5" fmla="*/ 10181 h 483531"/>
                      <a:gd name="csX6" fmla="*/ 124211 w 255369"/>
                      <a:gd name="csY6" fmla="*/ 51567 h 483531"/>
                      <a:gd name="csX7" fmla="*/ 254171 w 255369"/>
                      <a:gd name="csY7" fmla="*/ 5415 h 483531"/>
                      <a:gd name="csX8" fmla="*/ 234850 w 255369"/>
                      <a:gd name="csY8" fmla="*/ 51981 h 4835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5369" h="483531">
                        <a:moveTo>
                          <a:pt x="234799" y="51981"/>
                        </a:moveTo>
                        <a:cubicBezTo>
                          <a:pt x="175438" y="43383"/>
                          <a:pt x="124314" y="78294"/>
                          <a:pt x="114369" y="137240"/>
                        </a:cubicBezTo>
                        <a:lnTo>
                          <a:pt x="56977" y="476825"/>
                        </a:lnTo>
                        <a:cubicBezTo>
                          <a:pt x="40765" y="486511"/>
                          <a:pt x="17715" y="485165"/>
                          <a:pt x="0" y="476255"/>
                        </a:cubicBezTo>
                        <a:lnTo>
                          <a:pt x="75676" y="10647"/>
                        </a:lnTo>
                        <a:cubicBezTo>
                          <a:pt x="79095" y="-800"/>
                          <a:pt x="123019" y="-593"/>
                          <a:pt x="123279" y="10181"/>
                        </a:cubicBezTo>
                        <a:lnTo>
                          <a:pt x="124211" y="51567"/>
                        </a:lnTo>
                        <a:cubicBezTo>
                          <a:pt x="149747" y="8212"/>
                          <a:pt x="206724" y="-10021"/>
                          <a:pt x="254171" y="5415"/>
                        </a:cubicBezTo>
                        <a:cubicBezTo>
                          <a:pt x="258781" y="20799"/>
                          <a:pt x="249613" y="40171"/>
                          <a:pt x="234850" y="519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75BCB2E8-FDA0-F0BE-9DD5-B2EB92D37472}"/>
                    </a:ext>
                  </a:extLst>
                </p:cNvPr>
                <p:cNvSpPr/>
                <p:nvPr/>
              </p:nvSpPr>
              <p:spPr>
                <a:xfrm>
                  <a:off x="-1578343" y="8905672"/>
                  <a:ext cx="202120" cy="58536"/>
                </a:xfrm>
                <a:custGeom>
                  <a:avLst/>
                  <a:gdLst>
                    <a:gd name="csX0" fmla="*/ 177274 w 202120"/>
                    <a:gd name="csY0" fmla="*/ 55453 h 58536"/>
                    <a:gd name="csX1" fmla="*/ 3545 w 202120"/>
                    <a:gd name="csY1" fmla="*/ 55453 h 58536"/>
                    <a:gd name="csX2" fmla="*/ 24575 w 202120"/>
                    <a:gd name="csY2" fmla="*/ 3552 h 58536"/>
                    <a:gd name="csX3" fmla="*/ 198304 w 202120"/>
                    <a:gd name="csY3" fmla="*/ 2671 h 58536"/>
                    <a:gd name="csX4" fmla="*/ 177274 w 202120"/>
                    <a:gd name="csY4" fmla="*/ 55453 h 585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202120" h="58536">
                      <a:moveTo>
                        <a:pt x="177274" y="55453"/>
                      </a:moveTo>
                      <a:cubicBezTo>
                        <a:pt x="118328" y="60115"/>
                        <a:pt x="58347" y="58975"/>
                        <a:pt x="3545" y="55453"/>
                      </a:cubicBezTo>
                      <a:cubicBezTo>
                        <a:pt x="-6659" y="42659"/>
                        <a:pt x="6653" y="5468"/>
                        <a:pt x="24575" y="3552"/>
                      </a:cubicBezTo>
                      <a:cubicBezTo>
                        <a:pt x="80568" y="-2405"/>
                        <a:pt x="141741" y="444"/>
                        <a:pt x="198304" y="2671"/>
                      </a:cubicBezTo>
                      <a:cubicBezTo>
                        <a:pt x="208249" y="14326"/>
                        <a:pt x="197889" y="53847"/>
                        <a:pt x="177274" y="5545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" name="Graphic 2">
                  <a:extLst>
                    <a:ext uri="{FF2B5EF4-FFF2-40B4-BE49-F238E27FC236}">
                      <a16:creationId xmlns:a16="http://schemas.microsoft.com/office/drawing/2014/main" id="{9AD2CC56-7439-2C1D-F946-98BECB0D33FB}"/>
                    </a:ext>
                  </a:extLst>
                </p:cNvPr>
                <p:cNvGrpSpPr/>
                <p:nvPr/>
              </p:nvGrpSpPr>
              <p:grpSpPr>
                <a:xfrm>
                  <a:off x="-4457913" y="10177911"/>
                  <a:ext cx="3479931" cy="633371"/>
                  <a:chOff x="-4457913" y="10177911"/>
                  <a:chExt cx="3479931" cy="633371"/>
                </a:xfrm>
                <a:grp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137F2DCB-D709-E6E1-7285-5395E896C706}"/>
                      </a:ext>
                    </a:extLst>
                  </p:cNvPr>
                  <p:cNvSpPr/>
                  <p:nvPr/>
                </p:nvSpPr>
                <p:spPr>
                  <a:xfrm>
                    <a:off x="-2408149" y="10315887"/>
                    <a:ext cx="337564" cy="490484"/>
                  </a:xfrm>
                  <a:custGeom>
                    <a:avLst/>
                    <a:gdLst>
                      <a:gd name="csX0" fmla="*/ 113261 w 337564"/>
                      <a:gd name="csY0" fmla="*/ 218590 h 490484"/>
                      <a:gd name="csX1" fmla="*/ 258864 w 337564"/>
                      <a:gd name="csY1" fmla="*/ 216104 h 490484"/>
                      <a:gd name="csX2" fmla="*/ 242392 w 337564"/>
                      <a:gd name="csY2" fmla="*/ 53304 h 490484"/>
                      <a:gd name="csX3" fmla="*/ 166664 w 337564"/>
                      <a:gd name="csY3" fmla="*/ 53148 h 490484"/>
                      <a:gd name="csX4" fmla="*/ 98499 w 337564"/>
                      <a:gd name="csY4" fmla="*/ 155759 h 490484"/>
                      <a:gd name="csX5" fmla="*/ 54315 w 337564"/>
                      <a:gd name="csY5" fmla="*/ 148301 h 490484"/>
                      <a:gd name="csX6" fmla="*/ 66436 w 337564"/>
                      <a:gd name="csY6" fmla="*/ 67030 h 490484"/>
                      <a:gd name="csX7" fmla="*/ 262645 w 337564"/>
                      <a:gd name="csY7" fmla="*/ 2179 h 490484"/>
                      <a:gd name="csX8" fmla="*/ 336508 w 337564"/>
                      <a:gd name="csY8" fmla="*/ 92566 h 490484"/>
                      <a:gd name="csX9" fmla="*/ 280567 w 337564"/>
                      <a:gd name="csY9" fmla="*/ 458672 h 490484"/>
                      <a:gd name="csX10" fmla="*/ 252130 w 337564"/>
                      <a:gd name="csY10" fmla="*/ 490320 h 490484"/>
                      <a:gd name="csX11" fmla="*/ 222657 w 337564"/>
                      <a:gd name="csY11" fmla="*/ 459086 h 490484"/>
                      <a:gd name="csX12" fmla="*/ 172155 w 337564"/>
                      <a:gd name="csY12" fmla="*/ 488455 h 490484"/>
                      <a:gd name="csX13" fmla="*/ 59029 w 337564"/>
                      <a:gd name="csY13" fmla="*/ 488611 h 490484"/>
                      <a:gd name="csX14" fmla="*/ 342 w 337564"/>
                      <a:gd name="csY14" fmla="*/ 408842 h 490484"/>
                      <a:gd name="csX15" fmla="*/ 113261 w 337564"/>
                      <a:gd name="csY15" fmla="*/ 218642 h 490484"/>
                      <a:gd name="csX16" fmla="*/ 233431 w 337564"/>
                      <a:gd name="csY16" fmla="*/ 380975 h 490484"/>
                      <a:gd name="csX17" fmla="*/ 249955 w 337564"/>
                      <a:gd name="csY17" fmla="*/ 271527 h 490484"/>
                      <a:gd name="csX18" fmla="*/ 70632 w 337564"/>
                      <a:gd name="csY18" fmla="*/ 323843 h 490484"/>
                      <a:gd name="csX19" fmla="*/ 59961 w 337564"/>
                      <a:gd name="csY19" fmla="*/ 396048 h 490484"/>
                      <a:gd name="csX20" fmla="*/ 91920 w 337564"/>
                      <a:gd name="csY20" fmla="*/ 438315 h 490484"/>
                      <a:gd name="csX21" fmla="*/ 233483 w 337564"/>
                      <a:gd name="csY21" fmla="*/ 380975 h 49048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</a:cxnLst>
                    <a:rect l="l" t="t" r="r" b="b"/>
                    <a:pathLst>
                      <a:path w="337564" h="490484">
                        <a:moveTo>
                          <a:pt x="113261" y="218590"/>
                        </a:moveTo>
                        <a:lnTo>
                          <a:pt x="258864" y="216104"/>
                        </a:lnTo>
                        <a:cubicBezTo>
                          <a:pt x="261972" y="163995"/>
                          <a:pt x="309263" y="58846"/>
                          <a:pt x="242392" y="53304"/>
                        </a:cubicBezTo>
                        <a:cubicBezTo>
                          <a:pt x="217167" y="51180"/>
                          <a:pt x="191993" y="51284"/>
                          <a:pt x="166664" y="53148"/>
                        </a:cubicBezTo>
                        <a:cubicBezTo>
                          <a:pt x="96582" y="58380"/>
                          <a:pt x="119062" y="138666"/>
                          <a:pt x="98499" y="155759"/>
                        </a:cubicBezTo>
                        <a:cubicBezTo>
                          <a:pt x="89382" y="163322"/>
                          <a:pt x="56802" y="159333"/>
                          <a:pt x="54315" y="148301"/>
                        </a:cubicBezTo>
                        <a:cubicBezTo>
                          <a:pt x="48255" y="121573"/>
                          <a:pt x="58977" y="91686"/>
                          <a:pt x="66436" y="67030"/>
                        </a:cubicBezTo>
                        <a:cubicBezTo>
                          <a:pt x="90315" y="-12168"/>
                          <a:pt x="183395" y="-514"/>
                          <a:pt x="262645" y="2179"/>
                        </a:cubicBezTo>
                        <a:cubicBezTo>
                          <a:pt x="310144" y="3785"/>
                          <a:pt x="344071" y="42996"/>
                          <a:pt x="336508" y="92566"/>
                        </a:cubicBezTo>
                        <a:lnTo>
                          <a:pt x="280567" y="458672"/>
                        </a:lnTo>
                        <a:cubicBezTo>
                          <a:pt x="277408" y="479184"/>
                          <a:pt x="269845" y="488818"/>
                          <a:pt x="252130" y="490320"/>
                        </a:cubicBezTo>
                        <a:cubicBezTo>
                          <a:pt x="232810" y="491926"/>
                          <a:pt x="225196" y="481773"/>
                          <a:pt x="222657" y="459086"/>
                        </a:cubicBezTo>
                        <a:cubicBezTo>
                          <a:pt x="205564" y="469756"/>
                          <a:pt x="193495" y="487523"/>
                          <a:pt x="172155" y="488455"/>
                        </a:cubicBezTo>
                        <a:cubicBezTo>
                          <a:pt x="134602" y="490113"/>
                          <a:pt x="97048" y="491201"/>
                          <a:pt x="59029" y="488611"/>
                        </a:cubicBezTo>
                        <a:cubicBezTo>
                          <a:pt x="19300" y="485917"/>
                          <a:pt x="-3076" y="446396"/>
                          <a:pt x="342" y="408842"/>
                        </a:cubicBezTo>
                        <a:cubicBezTo>
                          <a:pt x="7542" y="328608"/>
                          <a:pt x="13706" y="220351"/>
                          <a:pt x="113261" y="218642"/>
                        </a:cubicBezTo>
                        <a:close/>
                        <a:moveTo>
                          <a:pt x="233431" y="380975"/>
                        </a:moveTo>
                        <a:cubicBezTo>
                          <a:pt x="240476" y="343888"/>
                          <a:pt x="246122" y="309236"/>
                          <a:pt x="249955" y="271527"/>
                        </a:cubicBezTo>
                        <a:cubicBezTo>
                          <a:pt x="171326" y="278209"/>
                          <a:pt x="82700" y="241899"/>
                          <a:pt x="70632" y="323843"/>
                        </a:cubicBezTo>
                        <a:lnTo>
                          <a:pt x="59961" y="396048"/>
                        </a:lnTo>
                        <a:cubicBezTo>
                          <a:pt x="56646" y="418632"/>
                          <a:pt x="67524" y="437538"/>
                          <a:pt x="91920" y="438315"/>
                        </a:cubicBezTo>
                        <a:cubicBezTo>
                          <a:pt x="148691" y="440180"/>
                          <a:pt x="220430" y="449866"/>
                          <a:pt x="233483" y="38097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D61C953E-95F5-EDA4-63E9-E274368F202F}"/>
                      </a:ext>
                    </a:extLst>
                  </p:cNvPr>
                  <p:cNvSpPr/>
                  <p:nvPr/>
                </p:nvSpPr>
                <p:spPr>
                  <a:xfrm>
                    <a:off x="-4129365" y="10316065"/>
                    <a:ext cx="336142" cy="491030"/>
                  </a:xfrm>
                  <a:custGeom>
                    <a:avLst/>
                    <a:gdLst>
                      <a:gd name="csX0" fmla="*/ 109255 w 336142"/>
                      <a:gd name="csY0" fmla="*/ 219033 h 491030"/>
                      <a:gd name="csX1" fmla="*/ 256982 w 336142"/>
                      <a:gd name="csY1" fmla="*/ 216132 h 491030"/>
                      <a:gd name="csX2" fmla="*/ 244499 w 336142"/>
                      <a:gd name="csY2" fmla="*/ 53954 h 491030"/>
                      <a:gd name="csX3" fmla="*/ 158359 w 336142"/>
                      <a:gd name="csY3" fmla="*/ 54058 h 491030"/>
                      <a:gd name="csX4" fmla="*/ 97911 w 336142"/>
                      <a:gd name="csY4" fmla="*/ 153975 h 491030"/>
                      <a:gd name="csX5" fmla="*/ 51812 w 336142"/>
                      <a:gd name="csY5" fmla="*/ 146413 h 491030"/>
                      <a:gd name="csX6" fmla="*/ 65227 w 336142"/>
                      <a:gd name="csY6" fmla="*/ 64935 h 491030"/>
                      <a:gd name="csX7" fmla="*/ 259520 w 336142"/>
                      <a:gd name="csY7" fmla="*/ 1846 h 491030"/>
                      <a:gd name="csX8" fmla="*/ 335300 w 336142"/>
                      <a:gd name="csY8" fmla="*/ 86120 h 491030"/>
                      <a:gd name="csX9" fmla="*/ 277856 w 336142"/>
                      <a:gd name="csY9" fmla="*/ 465020 h 491030"/>
                      <a:gd name="csX10" fmla="*/ 248487 w 336142"/>
                      <a:gd name="csY10" fmla="*/ 490038 h 491030"/>
                      <a:gd name="csX11" fmla="*/ 222640 w 336142"/>
                      <a:gd name="csY11" fmla="*/ 454246 h 491030"/>
                      <a:gd name="csX12" fmla="*/ 61291 w 336142"/>
                      <a:gd name="csY12" fmla="*/ 488847 h 491030"/>
                      <a:gd name="csX13" fmla="*/ 16797 w 336142"/>
                      <a:gd name="csY13" fmla="*/ 294243 h 491030"/>
                      <a:gd name="csX14" fmla="*/ 109255 w 336142"/>
                      <a:gd name="csY14" fmla="*/ 218981 h 491030"/>
                      <a:gd name="csX15" fmla="*/ 232482 w 336142"/>
                      <a:gd name="csY15" fmla="*/ 376860 h 491030"/>
                      <a:gd name="csX16" fmla="*/ 247866 w 336142"/>
                      <a:gd name="csY16" fmla="*/ 272695 h 491030"/>
                      <a:gd name="csX17" fmla="*/ 118941 w 336142"/>
                      <a:gd name="csY17" fmla="*/ 270986 h 491030"/>
                      <a:gd name="csX18" fmla="*/ 57354 w 336142"/>
                      <a:gd name="csY18" fmla="*/ 402759 h 491030"/>
                      <a:gd name="csX19" fmla="*/ 93405 w 336142"/>
                      <a:gd name="csY19" fmla="*/ 438603 h 491030"/>
                      <a:gd name="csX20" fmla="*/ 232482 w 336142"/>
                      <a:gd name="csY20" fmla="*/ 376860 h 49103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</a:cxnLst>
                    <a:rect l="l" t="t" r="r" b="b"/>
                    <a:pathLst>
                      <a:path w="336142" h="491030">
                        <a:moveTo>
                          <a:pt x="109255" y="219033"/>
                        </a:moveTo>
                        <a:lnTo>
                          <a:pt x="256982" y="216132"/>
                        </a:lnTo>
                        <a:cubicBezTo>
                          <a:pt x="259986" y="167857"/>
                          <a:pt x="304791" y="61931"/>
                          <a:pt x="244499" y="53954"/>
                        </a:cubicBezTo>
                        <a:cubicBezTo>
                          <a:pt x="216062" y="50225"/>
                          <a:pt x="186848" y="50691"/>
                          <a:pt x="158359" y="54058"/>
                        </a:cubicBezTo>
                        <a:cubicBezTo>
                          <a:pt x="101020" y="60895"/>
                          <a:pt x="114798" y="129838"/>
                          <a:pt x="97911" y="153975"/>
                        </a:cubicBezTo>
                        <a:cubicBezTo>
                          <a:pt x="90971" y="163920"/>
                          <a:pt x="54557" y="159051"/>
                          <a:pt x="51812" y="146413"/>
                        </a:cubicBezTo>
                        <a:cubicBezTo>
                          <a:pt x="45959" y="119581"/>
                          <a:pt x="57147" y="89798"/>
                          <a:pt x="65227" y="64935"/>
                        </a:cubicBezTo>
                        <a:cubicBezTo>
                          <a:pt x="90608" y="-12968"/>
                          <a:pt x="181409" y="188"/>
                          <a:pt x="259520" y="1846"/>
                        </a:cubicBezTo>
                        <a:cubicBezTo>
                          <a:pt x="301787" y="2726"/>
                          <a:pt x="342552" y="38415"/>
                          <a:pt x="335300" y="86120"/>
                        </a:cubicBezTo>
                        <a:lnTo>
                          <a:pt x="277856" y="465020"/>
                        </a:lnTo>
                        <a:cubicBezTo>
                          <a:pt x="274800" y="485013"/>
                          <a:pt x="262058" y="489054"/>
                          <a:pt x="248487" y="490038"/>
                        </a:cubicBezTo>
                        <a:cubicBezTo>
                          <a:pt x="227250" y="491592"/>
                          <a:pt x="224090" y="475327"/>
                          <a:pt x="222640" y="454246"/>
                        </a:cubicBezTo>
                        <a:cubicBezTo>
                          <a:pt x="189956" y="500604"/>
                          <a:pt x="132201" y="490763"/>
                          <a:pt x="61291" y="488847"/>
                        </a:cubicBezTo>
                        <a:cubicBezTo>
                          <a:pt x="-29977" y="486360"/>
                          <a:pt x="4210" y="353292"/>
                          <a:pt x="16797" y="294243"/>
                        </a:cubicBezTo>
                        <a:cubicBezTo>
                          <a:pt x="26379" y="249179"/>
                          <a:pt x="60773" y="219965"/>
                          <a:pt x="109255" y="218981"/>
                        </a:cubicBezTo>
                        <a:close/>
                        <a:moveTo>
                          <a:pt x="232482" y="376860"/>
                        </a:moveTo>
                        <a:cubicBezTo>
                          <a:pt x="237920" y="342518"/>
                          <a:pt x="244913" y="311025"/>
                          <a:pt x="247866" y="272695"/>
                        </a:cubicBezTo>
                        <a:cubicBezTo>
                          <a:pt x="204822" y="268551"/>
                          <a:pt x="162762" y="270934"/>
                          <a:pt x="118941" y="270986"/>
                        </a:cubicBezTo>
                        <a:cubicBezTo>
                          <a:pt x="64813" y="271038"/>
                          <a:pt x="64450" y="347491"/>
                          <a:pt x="57354" y="402759"/>
                        </a:cubicBezTo>
                        <a:cubicBezTo>
                          <a:pt x="54712" y="423219"/>
                          <a:pt x="73308" y="439017"/>
                          <a:pt x="93405" y="438603"/>
                        </a:cubicBezTo>
                        <a:cubicBezTo>
                          <a:pt x="144426" y="437515"/>
                          <a:pt x="220413" y="453106"/>
                          <a:pt x="232482" y="37686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20A87D41-0DBA-4D8E-C808-6FDBDD5393DC}"/>
                      </a:ext>
                    </a:extLst>
                  </p:cNvPr>
                  <p:cNvSpPr/>
                  <p:nvPr/>
                </p:nvSpPr>
                <p:spPr>
                  <a:xfrm>
                    <a:off x="-3372090" y="10315382"/>
                    <a:ext cx="333045" cy="490679"/>
                  </a:xfrm>
                  <a:custGeom>
                    <a:avLst/>
                    <a:gdLst>
                      <a:gd name="csX0" fmla="*/ 170175 w 333045"/>
                      <a:gd name="csY0" fmla="*/ 439337 h 490679"/>
                      <a:gd name="csX1" fmla="*/ 252688 w 333045"/>
                      <a:gd name="csY1" fmla="*/ 341492 h 490679"/>
                      <a:gd name="csX2" fmla="*/ 291692 w 333045"/>
                      <a:gd name="csY2" fmla="*/ 357601 h 490679"/>
                      <a:gd name="csX3" fmla="*/ 198923 w 333045"/>
                      <a:gd name="csY3" fmla="*/ 489270 h 490679"/>
                      <a:gd name="csX4" fmla="*/ 65388 w 333045"/>
                      <a:gd name="csY4" fmla="*/ 488752 h 490679"/>
                      <a:gd name="csX5" fmla="*/ 1108 w 333045"/>
                      <a:gd name="csY5" fmla="*/ 396086 h 490679"/>
                      <a:gd name="csX6" fmla="*/ 51248 w 333045"/>
                      <a:gd name="csY6" fmla="*/ 86337 h 490679"/>
                      <a:gd name="csX7" fmla="*/ 261960 w 333045"/>
                      <a:gd name="csY7" fmla="*/ 2995 h 490679"/>
                      <a:gd name="csX8" fmla="*/ 332975 w 333045"/>
                      <a:gd name="csY8" fmla="*/ 79655 h 490679"/>
                      <a:gd name="csX9" fmla="*/ 306765 w 333045"/>
                      <a:gd name="csY9" fmla="*/ 263588 h 490679"/>
                      <a:gd name="csX10" fmla="*/ 80979 w 333045"/>
                      <a:gd name="csY10" fmla="*/ 265764 h 490679"/>
                      <a:gd name="csX11" fmla="*/ 92996 w 333045"/>
                      <a:gd name="csY11" fmla="*/ 438301 h 490679"/>
                      <a:gd name="csX12" fmla="*/ 170278 w 333045"/>
                      <a:gd name="csY12" fmla="*/ 439389 h 490679"/>
                      <a:gd name="csX13" fmla="*/ 259526 w 333045"/>
                      <a:gd name="csY13" fmla="*/ 216349 h 490679"/>
                      <a:gd name="csX14" fmla="*/ 278018 w 333045"/>
                      <a:gd name="csY14" fmla="*/ 96282 h 490679"/>
                      <a:gd name="csX15" fmla="*/ 242588 w 333045"/>
                      <a:gd name="csY15" fmla="*/ 53704 h 490679"/>
                      <a:gd name="csX16" fmla="*/ 107707 w 333045"/>
                      <a:gd name="csY16" fmla="*/ 96593 h 490679"/>
                      <a:gd name="csX17" fmla="*/ 89578 w 333045"/>
                      <a:gd name="csY17" fmla="*/ 216970 h 490679"/>
                      <a:gd name="csX18" fmla="*/ 259526 w 333045"/>
                      <a:gd name="csY18" fmla="*/ 216400 h 49067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3045" h="490679">
                        <a:moveTo>
                          <a:pt x="170175" y="439337"/>
                        </a:moveTo>
                        <a:cubicBezTo>
                          <a:pt x="253414" y="440891"/>
                          <a:pt x="221195" y="344133"/>
                          <a:pt x="252688" y="341492"/>
                        </a:cubicBezTo>
                        <a:cubicBezTo>
                          <a:pt x="266259" y="340352"/>
                          <a:pt x="291588" y="338798"/>
                          <a:pt x="291692" y="357601"/>
                        </a:cubicBezTo>
                        <a:cubicBezTo>
                          <a:pt x="291899" y="412558"/>
                          <a:pt x="264136" y="487820"/>
                          <a:pt x="198923" y="489270"/>
                        </a:cubicBezTo>
                        <a:cubicBezTo>
                          <a:pt x="153807" y="490254"/>
                          <a:pt x="110349" y="492119"/>
                          <a:pt x="65388" y="488752"/>
                        </a:cubicBezTo>
                        <a:cubicBezTo>
                          <a:pt x="20791" y="485385"/>
                          <a:pt x="-5885" y="439027"/>
                          <a:pt x="1108" y="396086"/>
                        </a:cubicBezTo>
                        <a:lnTo>
                          <a:pt x="51248" y="86337"/>
                        </a:lnTo>
                        <a:cubicBezTo>
                          <a:pt x="67305" y="-12856"/>
                          <a:pt x="174940" y="-1874"/>
                          <a:pt x="261960" y="2995"/>
                        </a:cubicBezTo>
                        <a:cubicBezTo>
                          <a:pt x="303657" y="5325"/>
                          <a:pt x="334736" y="36093"/>
                          <a:pt x="332975" y="79655"/>
                        </a:cubicBezTo>
                        <a:cubicBezTo>
                          <a:pt x="330488" y="141708"/>
                          <a:pt x="320077" y="202519"/>
                          <a:pt x="306765" y="263588"/>
                        </a:cubicBezTo>
                        <a:lnTo>
                          <a:pt x="80979" y="265764"/>
                        </a:lnTo>
                        <a:cubicBezTo>
                          <a:pt x="78338" y="319219"/>
                          <a:pt x="29337" y="431516"/>
                          <a:pt x="92996" y="438301"/>
                        </a:cubicBezTo>
                        <a:cubicBezTo>
                          <a:pt x="117289" y="440891"/>
                          <a:pt x="142152" y="438871"/>
                          <a:pt x="170278" y="439389"/>
                        </a:cubicBezTo>
                        <a:close/>
                        <a:moveTo>
                          <a:pt x="259526" y="216349"/>
                        </a:moveTo>
                        <a:lnTo>
                          <a:pt x="278018" y="96282"/>
                        </a:lnTo>
                        <a:cubicBezTo>
                          <a:pt x="279416" y="73905"/>
                          <a:pt x="266208" y="55362"/>
                          <a:pt x="242588" y="53704"/>
                        </a:cubicBezTo>
                        <a:cubicBezTo>
                          <a:pt x="187164" y="49820"/>
                          <a:pt x="120708" y="42464"/>
                          <a:pt x="107707" y="96593"/>
                        </a:cubicBezTo>
                        <a:cubicBezTo>
                          <a:pt x="98124" y="136477"/>
                          <a:pt x="92427" y="175791"/>
                          <a:pt x="89578" y="216970"/>
                        </a:cubicBezTo>
                        <a:lnTo>
                          <a:pt x="259526" y="216400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CC19465B-2988-6537-EAB5-CD156E96ED62}"/>
                      </a:ext>
                    </a:extLst>
                  </p:cNvPr>
                  <p:cNvSpPr/>
                  <p:nvPr/>
                </p:nvSpPr>
                <p:spPr>
                  <a:xfrm>
                    <a:off x="-1310753" y="10315391"/>
                    <a:ext cx="332772" cy="490991"/>
                  </a:xfrm>
                  <a:custGeom>
                    <a:avLst/>
                    <a:gdLst>
                      <a:gd name="csX0" fmla="*/ 92582 w 332772"/>
                      <a:gd name="csY0" fmla="*/ 438085 h 490991"/>
                      <a:gd name="csX1" fmla="*/ 232953 w 332772"/>
                      <a:gd name="csY1" fmla="*/ 387997 h 490991"/>
                      <a:gd name="csX2" fmla="*/ 242588 w 332772"/>
                      <a:gd name="csY2" fmla="*/ 346662 h 490991"/>
                      <a:gd name="csX3" fmla="*/ 288791 w 332772"/>
                      <a:gd name="csY3" fmla="*/ 348942 h 490991"/>
                      <a:gd name="csX4" fmla="*/ 198456 w 332772"/>
                      <a:gd name="csY4" fmla="*/ 489313 h 490991"/>
                      <a:gd name="csX5" fmla="*/ 59638 w 332772"/>
                      <a:gd name="csY5" fmla="*/ 487655 h 490991"/>
                      <a:gd name="csX6" fmla="*/ 1056 w 332772"/>
                      <a:gd name="csY6" fmla="*/ 395870 h 490991"/>
                      <a:gd name="csX7" fmla="*/ 51610 w 332772"/>
                      <a:gd name="csY7" fmla="*/ 86224 h 490991"/>
                      <a:gd name="csX8" fmla="*/ 261287 w 332772"/>
                      <a:gd name="csY8" fmla="*/ 2934 h 490991"/>
                      <a:gd name="csX9" fmla="*/ 307956 w 332772"/>
                      <a:gd name="csY9" fmla="*/ 262232 h 490991"/>
                      <a:gd name="csX10" fmla="*/ 80876 w 332772"/>
                      <a:gd name="csY10" fmla="*/ 265910 h 490991"/>
                      <a:gd name="csX11" fmla="*/ 60001 w 332772"/>
                      <a:gd name="csY11" fmla="*/ 396440 h 490991"/>
                      <a:gd name="csX12" fmla="*/ 92478 w 332772"/>
                      <a:gd name="csY12" fmla="*/ 438137 h 490991"/>
                      <a:gd name="csX13" fmla="*/ 260199 w 332772"/>
                      <a:gd name="csY13" fmla="*/ 216132 h 490991"/>
                      <a:gd name="csX14" fmla="*/ 278380 w 332772"/>
                      <a:gd name="csY14" fmla="*/ 97412 h 490991"/>
                      <a:gd name="csX15" fmla="*/ 242122 w 332772"/>
                      <a:gd name="csY15" fmla="*/ 53747 h 490991"/>
                      <a:gd name="csX16" fmla="*/ 109364 w 332772"/>
                      <a:gd name="csY16" fmla="*/ 92181 h 490991"/>
                      <a:gd name="csX17" fmla="*/ 89267 w 332772"/>
                      <a:gd name="csY17" fmla="*/ 216910 h 490991"/>
                      <a:gd name="csX18" fmla="*/ 260251 w 332772"/>
                      <a:gd name="csY18" fmla="*/ 216132 h 4909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32772" h="490991">
                        <a:moveTo>
                          <a:pt x="92582" y="438085"/>
                        </a:moveTo>
                        <a:cubicBezTo>
                          <a:pt x="156241" y="446010"/>
                          <a:pt x="218813" y="447927"/>
                          <a:pt x="232953" y="387997"/>
                        </a:cubicBezTo>
                        <a:cubicBezTo>
                          <a:pt x="236113" y="374530"/>
                          <a:pt x="234404" y="357643"/>
                          <a:pt x="242588" y="346662"/>
                        </a:cubicBezTo>
                        <a:cubicBezTo>
                          <a:pt x="249736" y="337132"/>
                          <a:pt x="284647" y="337753"/>
                          <a:pt x="288791" y="348942"/>
                        </a:cubicBezTo>
                        <a:cubicBezTo>
                          <a:pt x="298840" y="400169"/>
                          <a:pt x="266363" y="489520"/>
                          <a:pt x="198456" y="489313"/>
                        </a:cubicBezTo>
                        <a:cubicBezTo>
                          <a:pt x="151372" y="489158"/>
                          <a:pt x="105686" y="494130"/>
                          <a:pt x="59638" y="487655"/>
                        </a:cubicBezTo>
                        <a:cubicBezTo>
                          <a:pt x="18356" y="481854"/>
                          <a:pt x="-5419" y="435495"/>
                          <a:pt x="1056" y="395870"/>
                        </a:cubicBezTo>
                        <a:lnTo>
                          <a:pt x="51610" y="86224"/>
                        </a:lnTo>
                        <a:cubicBezTo>
                          <a:pt x="67771" y="-12657"/>
                          <a:pt x="174577" y="-1883"/>
                          <a:pt x="261287" y="2934"/>
                        </a:cubicBezTo>
                        <a:cubicBezTo>
                          <a:pt x="380162" y="9564"/>
                          <a:pt x="316969" y="180392"/>
                          <a:pt x="307956" y="262232"/>
                        </a:cubicBezTo>
                        <a:lnTo>
                          <a:pt x="80876" y="265910"/>
                        </a:lnTo>
                        <a:cubicBezTo>
                          <a:pt x="71914" y="309938"/>
                          <a:pt x="65854" y="352257"/>
                          <a:pt x="60001" y="396440"/>
                        </a:cubicBezTo>
                        <a:cubicBezTo>
                          <a:pt x="57100" y="418350"/>
                          <a:pt x="71086" y="435444"/>
                          <a:pt x="92478" y="438137"/>
                        </a:cubicBezTo>
                        <a:close/>
                        <a:moveTo>
                          <a:pt x="260199" y="216132"/>
                        </a:moveTo>
                        <a:lnTo>
                          <a:pt x="278380" y="97412"/>
                        </a:lnTo>
                        <a:cubicBezTo>
                          <a:pt x="280814" y="74414"/>
                          <a:pt x="266311" y="55456"/>
                          <a:pt x="242122" y="53747"/>
                        </a:cubicBezTo>
                        <a:cubicBezTo>
                          <a:pt x="196540" y="50484"/>
                          <a:pt x="122676" y="42869"/>
                          <a:pt x="109364" y="92181"/>
                        </a:cubicBezTo>
                        <a:cubicBezTo>
                          <a:pt x="98228" y="133256"/>
                          <a:pt x="93204" y="174125"/>
                          <a:pt x="89267" y="216910"/>
                        </a:cubicBezTo>
                        <a:lnTo>
                          <a:pt x="260251" y="2161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C14EA9CC-B3E8-B398-9E7C-FB1B560112EA}"/>
                      </a:ext>
                    </a:extLst>
                  </p:cNvPr>
                  <p:cNvSpPr/>
                  <p:nvPr/>
                </p:nvSpPr>
                <p:spPr>
                  <a:xfrm>
                    <a:off x="-2037973" y="10315983"/>
                    <a:ext cx="344993" cy="490398"/>
                  </a:xfrm>
                  <a:custGeom>
                    <a:avLst/>
                    <a:gdLst>
                      <a:gd name="csX0" fmla="*/ 283955 w 344993"/>
                      <a:gd name="csY0" fmla="*/ 95215 h 490398"/>
                      <a:gd name="csX1" fmla="*/ 253187 w 344993"/>
                      <a:gd name="csY1" fmla="*/ 52948 h 490398"/>
                      <a:gd name="csX2" fmla="*/ 115043 w 344993"/>
                      <a:gd name="csY2" fmla="*/ 112671 h 490398"/>
                      <a:gd name="csX3" fmla="*/ 57444 w 344993"/>
                      <a:gd name="csY3" fmla="*/ 470902 h 490398"/>
                      <a:gd name="csX4" fmla="*/ 34342 w 344993"/>
                      <a:gd name="csY4" fmla="*/ 489446 h 490398"/>
                      <a:gd name="csX5" fmla="*/ 104 w 344993"/>
                      <a:gd name="csY5" fmla="*/ 477533 h 490398"/>
                      <a:gd name="csX6" fmla="*/ 74019 w 344993"/>
                      <a:gd name="csY6" fmla="*/ 13323 h 490398"/>
                      <a:gd name="csX7" fmla="*/ 121466 w 344993"/>
                      <a:gd name="csY7" fmla="*/ 12183 h 490398"/>
                      <a:gd name="csX8" fmla="*/ 124729 w 344993"/>
                      <a:gd name="csY8" fmla="*/ 38186 h 490398"/>
                      <a:gd name="csX9" fmla="*/ 284732 w 344993"/>
                      <a:gd name="csY9" fmla="*/ 3170 h 490398"/>
                      <a:gd name="csX10" fmla="*/ 344092 w 344993"/>
                      <a:gd name="csY10" fmla="*/ 79883 h 490398"/>
                      <a:gd name="csX11" fmla="*/ 282246 w 344993"/>
                      <a:gd name="csY11" fmla="*/ 476549 h 490398"/>
                      <a:gd name="csX12" fmla="*/ 228842 w 344993"/>
                      <a:gd name="csY12" fmla="*/ 478413 h 490398"/>
                      <a:gd name="csX13" fmla="*/ 283955 w 344993"/>
                      <a:gd name="csY13" fmla="*/ 95215 h 49039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344993" h="490398">
                        <a:moveTo>
                          <a:pt x="283955" y="95215"/>
                        </a:moveTo>
                        <a:cubicBezTo>
                          <a:pt x="287529" y="70196"/>
                          <a:pt x="274890" y="54346"/>
                          <a:pt x="253187" y="52948"/>
                        </a:cubicBezTo>
                        <a:cubicBezTo>
                          <a:pt x="199939" y="49477"/>
                          <a:pt x="126128" y="43469"/>
                          <a:pt x="115043" y="112671"/>
                        </a:cubicBezTo>
                        <a:lnTo>
                          <a:pt x="57444" y="470902"/>
                        </a:lnTo>
                        <a:cubicBezTo>
                          <a:pt x="55269" y="484525"/>
                          <a:pt x="41490" y="487892"/>
                          <a:pt x="34342" y="489446"/>
                        </a:cubicBezTo>
                        <a:cubicBezTo>
                          <a:pt x="26003" y="491259"/>
                          <a:pt x="-1916" y="490016"/>
                          <a:pt x="104" y="477533"/>
                        </a:cubicBezTo>
                        <a:lnTo>
                          <a:pt x="74019" y="13323"/>
                        </a:lnTo>
                        <a:cubicBezTo>
                          <a:pt x="76195" y="-404"/>
                          <a:pt x="117322" y="684"/>
                          <a:pt x="121466" y="12183"/>
                        </a:cubicBezTo>
                        <a:cubicBezTo>
                          <a:pt x="125092" y="22336"/>
                          <a:pt x="122916" y="30830"/>
                          <a:pt x="124729" y="38186"/>
                        </a:cubicBezTo>
                        <a:cubicBezTo>
                          <a:pt x="152856" y="-6930"/>
                          <a:pt x="235472" y="-1802"/>
                          <a:pt x="284732" y="3170"/>
                        </a:cubicBezTo>
                        <a:cubicBezTo>
                          <a:pt x="322285" y="6951"/>
                          <a:pt x="350463" y="39273"/>
                          <a:pt x="344092" y="79883"/>
                        </a:cubicBezTo>
                        <a:lnTo>
                          <a:pt x="282246" y="476549"/>
                        </a:lnTo>
                        <a:cubicBezTo>
                          <a:pt x="279241" y="495766"/>
                          <a:pt x="226615" y="493642"/>
                          <a:pt x="228842" y="478413"/>
                        </a:cubicBezTo>
                        <a:lnTo>
                          <a:pt x="283955" y="95215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E0C8BF8D-0437-51B5-4A9B-957D70042695}"/>
                      </a:ext>
                    </a:extLst>
                  </p:cNvPr>
                  <p:cNvSpPr/>
                  <p:nvPr/>
                </p:nvSpPr>
                <p:spPr>
                  <a:xfrm>
                    <a:off x="-2778288" y="10315923"/>
                    <a:ext cx="343480" cy="490841"/>
                  </a:xfrm>
                  <a:custGeom>
                    <a:avLst/>
                    <a:gdLst>
                      <a:gd name="csX0" fmla="*/ 282374 w 343480"/>
                      <a:gd name="csY0" fmla="*/ 101232 h 490841"/>
                      <a:gd name="csX1" fmla="*/ 251554 w 343480"/>
                      <a:gd name="csY1" fmla="*/ 52956 h 490841"/>
                      <a:gd name="csX2" fmla="*/ 112944 w 343480"/>
                      <a:gd name="csY2" fmla="*/ 117289 h 490841"/>
                      <a:gd name="csX3" fmla="*/ 54309 w 343480"/>
                      <a:gd name="csY3" fmla="*/ 477023 h 490841"/>
                      <a:gd name="csX4" fmla="*/ 77 w 343480"/>
                      <a:gd name="csY4" fmla="*/ 478732 h 490841"/>
                      <a:gd name="csX5" fmla="*/ 71195 w 343480"/>
                      <a:gd name="csY5" fmla="*/ 17009 h 490841"/>
                      <a:gd name="csX6" fmla="*/ 119522 w 343480"/>
                      <a:gd name="csY6" fmla="*/ 12191 h 490841"/>
                      <a:gd name="csX7" fmla="*/ 123252 w 343480"/>
                      <a:gd name="csY7" fmla="*/ 39178 h 490841"/>
                      <a:gd name="csX8" fmla="*/ 295168 w 343480"/>
                      <a:gd name="csY8" fmla="*/ 5769 h 490841"/>
                      <a:gd name="csX9" fmla="*/ 342097 w 343480"/>
                      <a:gd name="csY9" fmla="*/ 92581 h 490841"/>
                      <a:gd name="csX10" fmla="*/ 279836 w 343480"/>
                      <a:gd name="csY10" fmla="*/ 476712 h 490841"/>
                      <a:gd name="csX11" fmla="*/ 224464 w 343480"/>
                      <a:gd name="csY11" fmla="*/ 478318 h 490841"/>
                      <a:gd name="csX12" fmla="*/ 282374 w 343480"/>
                      <a:gd name="csY12" fmla="*/ 101232 h 490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</a:cxnLst>
                    <a:rect l="l" t="t" r="r" b="b"/>
                    <a:pathLst>
                      <a:path w="343480" h="490841">
                        <a:moveTo>
                          <a:pt x="282374" y="101232"/>
                        </a:moveTo>
                        <a:cubicBezTo>
                          <a:pt x="286518" y="74349"/>
                          <a:pt x="276469" y="54717"/>
                          <a:pt x="251554" y="52956"/>
                        </a:cubicBezTo>
                        <a:cubicBezTo>
                          <a:pt x="191210" y="48605"/>
                          <a:pt x="124806" y="44824"/>
                          <a:pt x="112944" y="117289"/>
                        </a:cubicBezTo>
                        <a:lnTo>
                          <a:pt x="54309" y="477023"/>
                        </a:lnTo>
                        <a:cubicBezTo>
                          <a:pt x="51357" y="495204"/>
                          <a:pt x="-2306" y="494168"/>
                          <a:pt x="77" y="478732"/>
                        </a:cubicBezTo>
                        <a:lnTo>
                          <a:pt x="71195" y="17009"/>
                        </a:lnTo>
                        <a:cubicBezTo>
                          <a:pt x="73992" y="-1172"/>
                          <a:pt x="117813" y="-33"/>
                          <a:pt x="119522" y="12191"/>
                        </a:cubicBezTo>
                        <a:lnTo>
                          <a:pt x="123252" y="39178"/>
                        </a:lnTo>
                        <a:cubicBezTo>
                          <a:pt x="147545" y="-9304"/>
                          <a:pt x="256579" y="-2312"/>
                          <a:pt x="295168" y="5769"/>
                        </a:cubicBezTo>
                        <a:cubicBezTo>
                          <a:pt x="333757" y="13849"/>
                          <a:pt x="348312" y="54303"/>
                          <a:pt x="342097" y="92581"/>
                        </a:cubicBezTo>
                        <a:lnTo>
                          <a:pt x="279836" y="476712"/>
                        </a:lnTo>
                        <a:cubicBezTo>
                          <a:pt x="276624" y="496499"/>
                          <a:pt x="234979" y="494065"/>
                          <a:pt x="224464" y="478318"/>
                        </a:cubicBezTo>
                        <a:lnTo>
                          <a:pt x="282374" y="101232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0A1A44C7-785D-9C7E-53D2-6B5AD82B9E81}"/>
                      </a:ext>
                    </a:extLst>
                  </p:cNvPr>
                  <p:cNvSpPr/>
                  <p:nvPr/>
                </p:nvSpPr>
                <p:spPr>
                  <a:xfrm>
                    <a:off x="-1657572" y="10316151"/>
                    <a:ext cx="324511" cy="490038"/>
                  </a:xfrm>
                  <a:custGeom>
                    <a:avLst/>
                    <a:gdLst>
                      <a:gd name="csX0" fmla="*/ 60294 w 324511"/>
                      <a:gd name="csY0" fmla="*/ 384130 h 490038"/>
                      <a:gd name="csX1" fmla="*/ 90854 w 324511"/>
                      <a:gd name="csY1" fmla="*/ 436860 h 490038"/>
                      <a:gd name="csX2" fmla="*/ 180464 w 324511"/>
                      <a:gd name="csY2" fmla="*/ 436031 h 490038"/>
                      <a:gd name="csX3" fmla="*/ 240083 w 324511"/>
                      <a:gd name="csY3" fmla="*/ 330157 h 490038"/>
                      <a:gd name="csX4" fmla="*/ 283800 w 324511"/>
                      <a:gd name="csY4" fmla="*/ 326738 h 490038"/>
                      <a:gd name="csX5" fmla="*/ 196107 w 324511"/>
                      <a:gd name="csY5" fmla="*/ 487777 h 490038"/>
                      <a:gd name="csX6" fmla="*/ 62936 w 324511"/>
                      <a:gd name="csY6" fmla="*/ 487673 h 490038"/>
                      <a:gd name="csX7" fmla="*/ 882 w 324511"/>
                      <a:gd name="csY7" fmla="*/ 401430 h 490038"/>
                      <a:gd name="csX8" fmla="*/ 50867 w 324511"/>
                      <a:gd name="csY8" fmla="*/ 86449 h 490038"/>
                      <a:gd name="csX9" fmla="*/ 145035 w 324511"/>
                      <a:gd name="csY9" fmla="*/ 2433 h 490038"/>
                      <a:gd name="csX10" fmla="*/ 322907 w 324511"/>
                      <a:gd name="csY10" fmla="*/ 65834 h 490038"/>
                      <a:gd name="csX11" fmla="*/ 315086 w 324511"/>
                      <a:gd name="csY11" fmla="*/ 149021 h 490038"/>
                      <a:gd name="csX12" fmla="*/ 266137 w 324511"/>
                      <a:gd name="csY12" fmla="*/ 161452 h 490038"/>
                      <a:gd name="csX13" fmla="*/ 233868 w 324511"/>
                      <a:gd name="csY13" fmla="*/ 53091 h 490038"/>
                      <a:gd name="csX14" fmla="*/ 106704 w 324511"/>
                      <a:gd name="csY14" fmla="*/ 97016 h 490038"/>
                      <a:gd name="csX15" fmla="*/ 60242 w 324511"/>
                      <a:gd name="csY15" fmla="*/ 384234 h 49003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</a:cxnLst>
                    <a:rect l="l" t="t" r="r" b="b"/>
                    <a:pathLst>
                      <a:path w="324511" h="490038">
                        <a:moveTo>
                          <a:pt x="60294" y="384130"/>
                        </a:moveTo>
                        <a:cubicBezTo>
                          <a:pt x="56305" y="408889"/>
                          <a:pt x="65991" y="434218"/>
                          <a:pt x="90854" y="436860"/>
                        </a:cubicBezTo>
                        <a:cubicBezTo>
                          <a:pt x="119913" y="439916"/>
                          <a:pt x="151147" y="440745"/>
                          <a:pt x="180464" y="436031"/>
                        </a:cubicBezTo>
                        <a:cubicBezTo>
                          <a:pt x="237752" y="426863"/>
                          <a:pt x="219416" y="343676"/>
                          <a:pt x="240083" y="330157"/>
                        </a:cubicBezTo>
                        <a:cubicBezTo>
                          <a:pt x="249355" y="324096"/>
                          <a:pt x="276289" y="316430"/>
                          <a:pt x="283800" y="326738"/>
                        </a:cubicBezTo>
                        <a:cubicBezTo>
                          <a:pt x="288359" y="383871"/>
                          <a:pt x="267640" y="483322"/>
                          <a:pt x="196107" y="487777"/>
                        </a:cubicBezTo>
                        <a:cubicBezTo>
                          <a:pt x="150991" y="490574"/>
                          <a:pt x="108310" y="491040"/>
                          <a:pt x="62936" y="487673"/>
                        </a:cubicBezTo>
                        <a:cubicBezTo>
                          <a:pt x="23414" y="484721"/>
                          <a:pt x="-5489" y="441677"/>
                          <a:pt x="882" y="401430"/>
                        </a:cubicBezTo>
                        <a:lnTo>
                          <a:pt x="50867" y="86449"/>
                        </a:lnTo>
                        <a:cubicBezTo>
                          <a:pt x="58791" y="36465"/>
                          <a:pt x="95361" y="3728"/>
                          <a:pt x="145035" y="2433"/>
                        </a:cubicBezTo>
                        <a:cubicBezTo>
                          <a:pt x="210870" y="724"/>
                          <a:pt x="316381" y="-15489"/>
                          <a:pt x="322907" y="65834"/>
                        </a:cubicBezTo>
                        <a:cubicBezTo>
                          <a:pt x="325135" y="93286"/>
                          <a:pt x="326844" y="122448"/>
                          <a:pt x="315086" y="149021"/>
                        </a:cubicBezTo>
                        <a:cubicBezTo>
                          <a:pt x="309492" y="161607"/>
                          <a:pt x="275979" y="169481"/>
                          <a:pt x="266137" y="161452"/>
                        </a:cubicBezTo>
                        <a:cubicBezTo>
                          <a:pt x="249303" y="144203"/>
                          <a:pt x="299806" y="58220"/>
                          <a:pt x="233868" y="53091"/>
                        </a:cubicBezTo>
                        <a:cubicBezTo>
                          <a:pt x="190202" y="49725"/>
                          <a:pt x="115562" y="42421"/>
                          <a:pt x="106704" y="97016"/>
                        </a:cubicBezTo>
                        <a:lnTo>
                          <a:pt x="60242" y="38423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3583C9DC-FA7E-A907-6C7E-7ED2B4671CCF}"/>
                      </a:ext>
                    </a:extLst>
                  </p:cNvPr>
                  <p:cNvSpPr/>
                  <p:nvPr/>
                </p:nvSpPr>
                <p:spPr>
                  <a:xfrm>
                    <a:off x="-3587489" y="10214696"/>
                    <a:ext cx="218918" cy="591881"/>
                  </a:xfrm>
                  <a:custGeom>
                    <a:avLst/>
                    <a:gdLst>
                      <a:gd name="csX0" fmla="*/ 144145 w 218918"/>
                      <a:gd name="csY0" fmla="*/ 539195 h 591881"/>
                      <a:gd name="csX1" fmla="*/ 135650 w 218918"/>
                      <a:gd name="csY1" fmla="*/ 585398 h 591881"/>
                      <a:gd name="csX2" fmla="*/ 52981 w 218918"/>
                      <a:gd name="csY2" fmla="*/ 583533 h 591881"/>
                      <a:gd name="csX3" fmla="*/ 718 w 218918"/>
                      <a:gd name="csY3" fmla="*/ 509204 h 591881"/>
                      <a:gd name="csX4" fmla="*/ 53189 w 218918"/>
                      <a:gd name="csY4" fmla="*/ 162834 h 591881"/>
                      <a:gd name="csX5" fmla="*/ 17863 w 218918"/>
                      <a:gd name="csY5" fmla="*/ 156514 h 591881"/>
                      <a:gd name="csX6" fmla="*/ 16671 w 218918"/>
                      <a:gd name="csY6" fmla="*/ 121240 h 591881"/>
                      <a:gd name="csX7" fmla="*/ 60026 w 218918"/>
                      <a:gd name="csY7" fmla="*/ 105753 h 591881"/>
                      <a:gd name="csX8" fmla="*/ 79709 w 218918"/>
                      <a:gd name="csY8" fmla="*/ 15625 h 591881"/>
                      <a:gd name="csX9" fmla="*/ 134821 w 218918"/>
                      <a:gd name="csY9" fmla="*/ 1381 h 591881"/>
                      <a:gd name="csX10" fmla="*/ 123944 w 218918"/>
                      <a:gd name="csY10" fmla="*/ 103940 h 591881"/>
                      <a:gd name="csX11" fmla="*/ 218112 w 218918"/>
                      <a:gd name="csY11" fmla="*/ 110673 h 591881"/>
                      <a:gd name="csX12" fmla="*/ 201951 w 218918"/>
                      <a:gd name="csY12" fmla="*/ 156048 h 591881"/>
                      <a:gd name="csX13" fmla="*/ 113377 w 218918"/>
                      <a:gd name="csY13" fmla="*/ 160296 h 591881"/>
                      <a:gd name="csX14" fmla="*/ 60906 w 218918"/>
                      <a:gd name="csY14" fmla="*/ 485584 h 591881"/>
                      <a:gd name="csX15" fmla="*/ 80020 w 218918"/>
                      <a:gd name="csY15" fmla="*/ 531684 h 591881"/>
                      <a:gd name="csX16" fmla="*/ 144093 w 218918"/>
                      <a:gd name="csY16" fmla="*/ 539143 h 59188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</a:cxnLst>
                    <a:rect l="l" t="t" r="r" b="b"/>
                    <a:pathLst>
                      <a:path w="218918" h="591881">
                        <a:moveTo>
                          <a:pt x="144145" y="539195"/>
                        </a:moveTo>
                        <a:cubicBezTo>
                          <a:pt x="154660" y="545203"/>
                          <a:pt x="147667" y="579856"/>
                          <a:pt x="135650" y="585398"/>
                        </a:cubicBezTo>
                        <a:cubicBezTo>
                          <a:pt x="109751" y="597364"/>
                          <a:pt x="80745" y="590371"/>
                          <a:pt x="52981" y="583533"/>
                        </a:cubicBezTo>
                        <a:cubicBezTo>
                          <a:pt x="21540" y="575764"/>
                          <a:pt x="-4721" y="545100"/>
                          <a:pt x="718" y="509204"/>
                        </a:cubicBezTo>
                        <a:lnTo>
                          <a:pt x="53189" y="162834"/>
                        </a:lnTo>
                        <a:cubicBezTo>
                          <a:pt x="40809" y="155996"/>
                          <a:pt x="27238" y="162575"/>
                          <a:pt x="17863" y="156514"/>
                        </a:cubicBezTo>
                        <a:cubicBezTo>
                          <a:pt x="4965" y="148175"/>
                          <a:pt x="12942" y="130201"/>
                          <a:pt x="16671" y="121240"/>
                        </a:cubicBezTo>
                        <a:cubicBezTo>
                          <a:pt x="23094" y="105804"/>
                          <a:pt x="41430" y="104354"/>
                          <a:pt x="60026" y="105753"/>
                        </a:cubicBezTo>
                        <a:lnTo>
                          <a:pt x="79709" y="15625"/>
                        </a:lnTo>
                        <a:cubicBezTo>
                          <a:pt x="83386" y="-1158"/>
                          <a:pt x="119438" y="-1520"/>
                          <a:pt x="134821" y="1381"/>
                        </a:cubicBezTo>
                        <a:lnTo>
                          <a:pt x="123944" y="103940"/>
                        </a:lnTo>
                        <a:cubicBezTo>
                          <a:pt x="156214" y="109741"/>
                          <a:pt x="186049" y="99640"/>
                          <a:pt x="218112" y="110673"/>
                        </a:cubicBezTo>
                        <a:cubicBezTo>
                          <a:pt x="221116" y="123156"/>
                          <a:pt x="215729" y="151283"/>
                          <a:pt x="201951" y="156048"/>
                        </a:cubicBezTo>
                        <a:cubicBezTo>
                          <a:pt x="174240" y="165682"/>
                          <a:pt x="145647" y="155530"/>
                          <a:pt x="113377" y="160296"/>
                        </a:cubicBezTo>
                        <a:lnTo>
                          <a:pt x="60906" y="485584"/>
                        </a:lnTo>
                        <a:cubicBezTo>
                          <a:pt x="57902" y="504076"/>
                          <a:pt x="61942" y="525054"/>
                          <a:pt x="80020" y="531684"/>
                        </a:cubicBezTo>
                        <a:cubicBezTo>
                          <a:pt x="99133" y="538677"/>
                          <a:pt x="121613" y="526349"/>
                          <a:pt x="144093" y="53914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E0E3260B-1ED1-C5B5-02C4-8C7C4E2A76DB}"/>
                      </a:ext>
                    </a:extLst>
                  </p:cNvPr>
                  <p:cNvSpPr/>
                  <p:nvPr/>
                </p:nvSpPr>
                <p:spPr>
                  <a:xfrm>
                    <a:off x="-3761329" y="10182974"/>
                    <a:ext cx="152854" cy="623886"/>
                  </a:xfrm>
                  <a:custGeom>
                    <a:avLst/>
                    <a:gdLst>
                      <a:gd name="csX0" fmla="*/ 57599 w 152854"/>
                      <a:gd name="csY0" fmla="*/ 606605 h 623886"/>
                      <a:gd name="csX1" fmla="*/ 0 w 152854"/>
                      <a:gd name="csY1" fmla="*/ 610128 h 623886"/>
                      <a:gd name="csX2" fmla="*/ 96292 w 152854"/>
                      <a:gd name="csY2" fmla="*/ 10881 h 623886"/>
                      <a:gd name="csX3" fmla="*/ 152855 w 152854"/>
                      <a:gd name="csY3" fmla="*/ 8913 h 623886"/>
                      <a:gd name="csX4" fmla="*/ 57599 w 152854"/>
                      <a:gd name="csY4" fmla="*/ 606554 h 62388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52854" h="623886">
                        <a:moveTo>
                          <a:pt x="57599" y="606605"/>
                        </a:moveTo>
                        <a:cubicBezTo>
                          <a:pt x="53714" y="630847"/>
                          <a:pt x="10929" y="627273"/>
                          <a:pt x="0" y="610128"/>
                        </a:cubicBezTo>
                        <a:lnTo>
                          <a:pt x="96292" y="10881"/>
                        </a:lnTo>
                        <a:cubicBezTo>
                          <a:pt x="98881" y="-5124"/>
                          <a:pt x="142495" y="-1447"/>
                          <a:pt x="152855" y="8913"/>
                        </a:cubicBezTo>
                        <a:lnTo>
                          <a:pt x="57599" y="606554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85C46D2C-7F4B-392F-1631-0AA943EE04DF}"/>
                      </a:ext>
                    </a:extLst>
                  </p:cNvPr>
                  <p:cNvSpPr/>
                  <p:nvPr/>
                </p:nvSpPr>
                <p:spPr>
                  <a:xfrm rot="-4864199">
                    <a:off x="-4695317" y="10464788"/>
                    <a:ext cx="631775" cy="59619"/>
                  </a:xfrm>
                  <a:prstGeom prst="rect">
                    <a:avLst/>
                  </a:pr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F8AA89FA-05BC-791A-CDD6-51F41514211A}"/>
                      </a:ext>
                    </a:extLst>
                  </p:cNvPr>
                  <p:cNvSpPr/>
                  <p:nvPr/>
                </p:nvSpPr>
                <p:spPr>
                  <a:xfrm>
                    <a:off x="-3007797" y="10317555"/>
                    <a:ext cx="251823" cy="488729"/>
                  </a:xfrm>
                  <a:custGeom>
                    <a:avLst/>
                    <a:gdLst>
                      <a:gd name="csX0" fmla="*/ 236061 w 251823"/>
                      <a:gd name="csY0" fmla="*/ 50910 h 488729"/>
                      <a:gd name="csX1" fmla="*/ 109726 w 251823"/>
                      <a:gd name="csY1" fmla="*/ 144146 h 488729"/>
                      <a:gd name="csX2" fmla="*/ 54407 w 251823"/>
                      <a:gd name="csY2" fmla="*/ 474874 h 488729"/>
                      <a:gd name="csX3" fmla="*/ 71 w 251823"/>
                      <a:gd name="csY3" fmla="*/ 477101 h 488729"/>
                      <a:gd name="csX4" fmla="*/ 71189 w 251823"/>
                      <a:gd name="csY4" fmla="*/ 15429 h 488729"/>
                      <a:gd name="csX5" fmla="*/ 121070 w 251823"/>
                      <a:gd name="csY5" fmla="*/ 10923 h 488729"/>
                      <a:gd name="csX6" fmla="*/ 122313 w 251823"/>
                      <a:gd name="csY6" fmla="*/ 52723 h 488729"/>
                      <a:gd name="csX7" fmla="*/ 249580 w 251823"/>
                      <a:gd name="csY7" fmla="*/ 2790 h 488729"/>
                      <a:gd name="csX8" fmla="*/ 236061 w 251823"/>
                      <a:gd name="csY8" fmla="*/ 50910 h 488729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</a:cxnLst>
                    <a:rect l="l" t="t" r="r" b="b"/>
                    <a:pathLst>
                      <a:path w="251823" h="488729">
                        <a:moveTo>
                          <a:pt x="236061" y="50910"/>
                        </a:moveTo>
                        <a:cubicBezTo>
                          <a:pt x="171676" y="44021"/>
                          <a:pt x="120138" y="82041"/>
                          <a:pt x="109726" y="144146"/>
                        </a:cubicBezTo>
                        <a:lnTo>
                          <a:pt x="54407" y="474874"/>
                        </a:lnTo>
                        <a:cubicBezTo>
                          <a:pt x="51195" y="494039"/>
                          <a:pt x="-2208" y="491915"/>
                          <a:pt x="71" y="477101"/>
                        </a:cubicBezTo>
                        <a:lnTo>
                          <a:pt x="71189" y="15429"/>
                        </a:lnTo>
                        <a:cubicBezTo>
                          <a:pt x="74193" y="-4202"/>
                          <a:pt x="114026" y="45"/>
                          <a:pt x="121070" y="10923"/>
                        </a:cubicBezTo>
                        <a:lnTo>
                          <a:pt x="122313" y="52723"/>
                        </a:lnTo>
                        <a:cubicBezTo>
                          <a:pt x="146451" y="7504"/>
                          <a:pt x="202962" y="-6688"/>
                          <a:pt x="249580" y="2790"/>
                        </a:cubicBezTo>
                        <a:cubicBezTo>
                          <a:pt x="255640" y="17812"/>
                          <a:pt x="248855" y="38479"/>
                          <a:pt x="236061" y="50910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C0B110BF-6D7C-A250-CB26-E615DF065D56}"/>
                      </a:ext>
                    </a:extLst>
                  </p:cNvPr>
                  <p:cNvSpPr/>
                  <p:nvPr/>
                </p:nvSpPr>
                <p:spPr>
                  <a:xfrm>
                    <a:off x="-4230149" y="10192173"/>
                    <a:ext cx="98758" cy="182367"/>
                  </a:xfrm>
                  <a:custGeom>
                    <a:avLst/>
                    <a:gdLst>
                      <a:gd name="csX0" fmla="*/ 95463 w 98758"/>
                      <a:gd name="csY0" fmla="*/ 3081 h 182367"/>
                      <a:gd name="csX1" fmla="*/ 34756 w 98758"/>
                      <a:gd name="csY1" fmla="*/ 179037 h 182367"/>
                      <a:gd name="csX2" fmla="*/ 0 w 98758"/>
                      <a:gd name="csY2" fmla="*/ 175567 h 182367"/>
                      <a:gd name="csX3" fmla="*/ 34446 w 98758"/>
                      <a:gd name="csY3" fmla="*/ 82590 h 182367"/>
                      <a:gd name="csX4" fmla="*/ 28955 w 98758"/>
                      <a:gd name="csY4" fmla="*/ 6810 h 182367"/>
                      <a:gd name="csX5" fmla="*/ 95411 w 98758"/>
                      <a:gd name="csY5" fmla="*/ 3081 h 1823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98758" h="182367">
                        <a:moveTo>
                          <a:pt x="95463" y="3081"/>
                        </a:moveTo>
                        <a:cubicBezTo>
                          <a:pt x="114524" y="36904"/>
                          <a:pt x="45116" y="174168"/>
                          <a:pt x="34756" y="179037"/>
                        </a:cubicBezTo>
                        <a:cubicBezTo>
                          <a:pt x="25536" y="183388"/>
                          <a:pt x="4144" y="184631"/>
                          <a:pt x="0" y="175567"/>
                        </a:cubicBezTo>
                        <a:cubicBezTo>
                          <a:pt x="4662" y="142313"/>
                          <a:pt x="24293" y="113927"/>
                          <a:pt x="34446" y="82590"/>
                        </a:cubicBezTo>
                        <a:cubicBezTo>
                          <a:pt x="-207" y="73525"/>
                          <a:pt x="19683" y="14062"/>
                          <a:pt x="28955" y="6810"/>
                        </a:cubicBezTo>
                        <a:cubicBezTo>
                          <a:pt x="45789" y="-6295"/>
                          <a:pt x="75210" y="3650"/>
                          <a:pt x="95411" y="3081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328C4CA8-D436-B795-B811-327FBE7C4028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36B1B3-DFAA-4293-B79F-CB37BF7A9667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94B151E0-6AFC-F8F2-4F6F-BBBE20BEFDCB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6D26ED5-90BC-5BF0-A69C-D0CDC8EFDBB9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5" name="Freeform: Shape 204">
            <a:extLst>
              <a:ext uri="{FF2B5EF4-FFF2-40B4-BE49-F238E27FC236}">
                <a16:creationId xmlns:a16="http://schemas.microsoft.com/office/drawing/2014/main" id="{AECF64BC-179E-9E5F-15A0-620615752C6C}"/>
              </a:ext>
            </a:extLst>
          </p:cNvPr>
          <p:cNvSpPr>
            <a:spLocks/>
          </p:cNvSpPr>
          <p:nvPr/>
        </p:nvSpPr>
        <p:spPr>
          <a:xfrm>
            <a:off x="539551" y="1103015"/>
            <a:ext cx="4680000" cy="3240000"/>
          </a:xfrm>
          <a:custGeom>
            <a:avLst/>
            <a:gdLst>
              <a:gd name="connsiteX0" fmla="*/ 2386801 w 4680000"/>
              <a:gd name="connsiteY0" fmla="*/ 0 h 3240000"/>
              <a:gd name="connsiteX1" fmla="*/ 2541599 w 4680000"/>
              <a:gd name="connsiteY1" fmla="*/ 0 h 3240000"/>
              <a:gd name="connsiteX2" fmla="*/ 4393005 w 4680000"/>
              <a:gd name="connsiteY2" fmla="*/ 0 h 3240000"/>
              <a:gd name="connsiteX3" fmla="*/ 4393132 w 4680000"/>
              <a:gd name="connsiteY3" fmla="*/ 0 h 3240000"/>
              <a:gd name="connsiteX4" fmla="*/ 4547803 w 4680000"/>
              <a:gd name="connsiteY4" fmla="*/ 0 h 3240000"/>
              <a:gd name="connsiteX5" fmla="*/ 4547930 w 4680000"/>
              <a:gd name="connsiteY5" fmla="*/ 0 h 3240000"/>
              <a:gd name="connsiteX6" fmla="*/ 4680000 w 4680000"/>
              <a:gd name="connsiteY6" fmla="*/ 132074 h 3240000"/>
              <a:gd name="connsiteX7" fmla="*/ 4680000 w 4680000"/>
              <a:gd name="connsiteY7" fmla="*/ 3107926 h 3240000"/>
              <a:gd name="connsiteX8" fmla="*/ 4547930 w 4680000"/>
              <a:gd name="connsiteY8" fmla="*/ 3240000 h 3240000"/>
              <a:gd name="connsiteX9" fmla="*/ 4393132 w 4680000"/>
              <a:gd name="connsiteY9" fmla="*/ 3240000 h 3240000"/>
              <a:gd name="connsiteX10" fmla="*/ 670535 w 4680000"/>
              <a:gd name="connsiteY10" fmla="*/ 3240000 h 3240000"/>
              <a:gd name="connsiteX11" fmla="*/ 132071 w 4680000"/>
              <a:gd name="connsiteY11" fmla="*/ 3240000 h 3240000"/>
              <a:gd name="connsiteX12" fmla="*/ 0 w 4680000"/>
              <a:gd name="connsiteY12" fmla="*/ 3107926 h 3240000"/>
              <a:gd name="connsiteX13" fmla="*/ 0 w 4680000"/>
              <a:gd name="connsiteY13" fmla="*/ 709135 h 3240000"/>
              <a:gd name="connsiteX14" fmla="*/ 132071 w 4680000"/>
              <a:gd name="connsiteY14" fmla="*/ 577061 h 3240000"/>
              <a:gd name="connsiteX15" fmla="*/ 670535 w 4680000"/>
              <a:gd name="connsiteY15" fmla="*/ 577061 h 3240000"/>
              <a:gd name="connsiteX16" fmla="*/ 670535 w 4680000"/>
              <a:gd name="connsiteY16" fmla="*/ 577061 h 3240000"/>
              <a:gd name="connsiteX17" fmla="*/ 2036305 w 4680000"/>
              <a:gd name="connsiteY17" fmla="*/ 577061 h 3240000"/>
              <a:gd name="connsiteX18" fmla="*/ 2164440 w 4680000"/>
              <a:gd name="connsiteY18" fmla="*/ 477117 h 3240000"/>
              <a:gd name="connsiteX19" fmla="*/ 2258666 w 4680000"/>
              <a:gd name="connsiteY19" fmla="*/ 100072 h 3240000"/>
              <a:gd name="connsiteX20" fmla="*/ 2386801 w 4680000"/>
              <a:gd name="connsiteY20" fmla="*/ 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680000" h="3240000">
                <a:moveTo>
                  <a:pt x="2386801" y="0"/>
                </a:moveTo>
                <a:lnTo>
                  <a:pt x="2541599" y="0"/>
                </a:lnTo>
                <a:lnTo>
                  <a:pt x="4393005" y="0"/>
                </a:lnTo>
                <a:lnTo>
                  <a:pt x="4393132" y="0"/>
                </a:lnTo>
                <a:lnTo>
                  <a:pt x="4547803" y="0"/>
                </a:lnTo>
                <a:lnTo>
                  <a:pt x="4547930" y="0"/>
                </a:lnTo>
                <a:cubicBezTo>
                  <a:pt x="4620950" y="0"/>
                  <a:pt x="4680000" y="59180"/>
                  <a:pt x="4680000" y="132074"/>
                </a:cubicBezTo>
                <a:lnTo>
                  <a:pt x="4680000" y="3107926"/>
                </a:lnTo>
                <a:cubicBezTo>
                  <a:pt x="4680000" y="3180948"/>
                  <a:pt x="4620823" y="3240000"/>
                  <a:pt x="4547930" y="3240000"/>
                </a:cubicBezTo>
                <a:lnTo>
                  <a:pt x="4393132" y="3240000"/>
                </a:lnTo>
                <a:lnTo>
                  <a:pt x="670535" y="3240000"/>
                </a:lnTo>
                <a:lnTo>
                  <a:pt x="132071" y="3240000"/>
                </a:lnTo>
                <a:cubicBezTo>
                  <a:pt x="59051" y="3240000"/>
                  <a:pt x="0" y="3180822"/>
                  <a:pt x="0" y="3107926"/>
                </a:cubicBezTo>
                <a:lnTo>
                  <a:pt x="0" y="709135"/>
                </a:lnTo>
                <a:cubicBezTo>
                  <a:pt x="0" y="636113"/>
                  <a:pt x="59179" y="577061"/>
                  <a:pt x="132071" y="577061"/>
                </a:cubicBezTo>
                <a:lnTo>
                  <a:pt x="670535" y="577061"/>
                </a:lnTo>
                <a:lnTo>
                  <a:pt x="670535" y="577061"/>
                </a:lnTo>
                <a:lnTo>
                  <a:pt x="2036305" y="577061"/>
                </a:lnTo>
                <a:cubicBezTo>
                  <a:pt x="2096880" y="577061"/>
                  <a:pt x="2149709" y="535915"/>
                  <a:pt x="2164440" y="477117"/>
                </a:cubicBezTo>
                <a:lnTo>
                  <a:pt x="2258666" y="100072"/>
                </a:lnTo>
                <a:cubicBezTo>
                  <a:pt x="2273397" y="41273"/>
                  <a:pt x="2326225" y="0"/>
                  <a:pt x="2386801" y="0"/>
                </a:cubicBezTo>
                <a:close/>
              </a:path>
            </a:pathLst>
          </a:custGeom>
          <a:solidFill>
            <a:srgbClr val="F4F0F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4EC00FD3-17DA-375E-DCED-FEC1855AC504}"/>
              </a:ext>
            </a:extLst>
          </p:cNvPr>
          <p:cNvSpPr>
            <a:spLocks/>
          </p:cNvSpPr>
          <p:nvPr/>
        </p:nvSpPr>
        <p:spPr>
          <a:xfrm flipH="1">
            <a:off x="3102939" y="2583639"/>
            <a:ext cx="2116612" cy="1759376"/>
          </a:xfrm>
          <a:custGeom>
            <a:avLst/>
            <a:gdLst>
              <a:gd name="csX0" fmla="*/ 250677 w 2116612"/>
              <a:gd name="csY0" fmla="*/ 353 h 1759376"/>
              <a:gd name="csX1" fmla="*/ 216335 w 2116612"/>
              <a:gd name="csY1" fmla="*/ 12340 h 1759376"/>
              <a:gd name="csX2" fmla="*/ 7918 w 2116612"/>
              <a:gd name="csY2" fmla="*/ 393018 h 1759376"/>
              <a:gd name="csX3" fmla="*/ 0 w 2116612"/>
              <a:gd name="csY3" fmla="*/ 441461 h 1759376"/>
              <a:gd name="csX4" fmla="*/ 246701 w 2116612"/>
              <a:gd name="csY4" fmla="*/ 1759376 h 1759376"/>
              <a:gd name="csX5" fmla="*/ 302619 w 2116612"/>
              <a:gd name="csY5" fmla="*/ 1759376 h 1759376"/>
              <a:gd name="csX6" fmla="*/ 56134 w 2116612"/>
              <a:gd name="csY6" fmla="*/ 441177 h 1759376"/>
              <a:gd name="csX7" fmla="*/ 218690 w 2116612"/>
              <a:gd name="csY7" fmla="*/ 130652 h 1759376"/>
              <a:gd name="csX8" fmla="*/ 529425 w 2116612"/>
              <a:gd name="csY8" fmla="*/ 1759376 h 1759376"/>
              <a:gd name="csX9" fmla="*/ 589458 w 2116612"/>
              <a:gd name="csY9" fmla="*/ 1759376 h 1759376"/>
              <a:gd name="csX10" fmla="*/ 269716 w 2116612"/>
              <a:gd name="csY10" fmla="*/ 74972 h 1759376"/>
              <a:gd name="csX11" fmla="*/ 2050482 w 2116612"/>
              <a:gd name="csY11" fmla="*/ 1439045 h 1759376"/>
              <a:gd name="csX12" fmla="*/ 1213040 w 2116612"/>
              <a:gd name="csY12" fmla="*/ 1431809 h 1759376"/>
              <a:gd name="csX13" fmla="*/ 681860 w 2116612"/>
              <a:gd name="csY13" fmla="*/ 1759376 h 1759376"/>
              <a:gd name="csX14" fmla="*/ 782510 w 2116612"/>
              <a:gd name="csY14" fmla="*/ 1759376 h 1759376"/>
              <a:gd name="csX15" fmla="*/ 837403 w 2116612"/>
              <a:gd name="csY15" fmla="*/ 1724203 h 1759376"/>
              <a:gd name="csX16" fmla="*/ 1083120 w 2116612"/>
              <a:gd name="csY16" fmla="*/ 1570952 h 1759376"/>
              <a:gd name="csX17" fmla="*/ 1132216 w 2116612"/>
              <a:gd name="csY17" fmla="*/ 1550576 h 1759376"/>
              <a:gd name="csX18" fmla="*/ 1017999 w 2116612"/>
              <a:gd name="csY18" fmla="*/ 1759376 h 1759376"/>
              <a:gd name="csX19" fmla="*/ 1084230 w 2116612"/>
              <a:gd name="csY19" fmla="*/ 1759376 h 1759376"/>
              <a:gd name="csX20" fmla="*/ 1225016 w 2116612"/>
              <a:gd name="csY20" fmla="*/ 1485559 h 1759376"/>
              <a:gd name="csX21" fmla="*/ 2031950 w 2116612"/>
              <a:gd name="csY21" fmla="*/ 1485559 h 1759376"/>
              <a:gd name="csX22" fmla="*/ 1887797 w 2116612"/>
              <a:gd name="csY22" fmla="*/ 1759376 h 1759376"/>
              <a:gd name="csX23" fmla="*/ 1949465 w 2116612"/>
              <a:gd name="csY23" fmla="*/ 1759376 h 1759376"/>
              <a:gd name="csX24" fmla="*/ 2108261 w 2116612"/>
              <a:gd name="csY24" fmla="*/ 1473838 h 1759376"/>
              <a:gd name="csX25" fmla="*/ 2106757 w 2116612"/>
              <a:gd name="csY25" fmla="*/ 1405984 h 1759376"/>
              <a:gd name="csX26" fmla="*/ 287850 w 2116612"/>
              <a:gd name="csY26" fmla="*/ 5670 h 1759376"/>
              <a:gd name="csX27" fmla="*/ 250677 w 2116612"/>
              <a:gd name="csY27" fmla="*/ 353 h 175937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</a:cxnLst>
            <a:rect l="l" t="t" r="r" b="b"/>
            <a:pathLst>
              <a:path w="2116612" h="1759376">
                <a:moveTo>
                  <a:pt x="250677" y="353"/>
                </a:moveTo>
                <a:cubicBezTo>
                  <a:pt x="236775" y="1520"/>
                  <a:pt x="223345" y="5571"/>
                  <a:pt x="216335" y="12340"/>
                </a:cubicBezTo>
                <a:lnTo>
                  <a:pt x="7918" y="393018"/>
                </a:lnTo>
                <a:lnTo>
                  <a:pt x="0" y="441461"/>
                </a:lnTo>
                <a:lnTo>
                  <a:pt x="246701" y="1759376"/>
                </a:lnTo>
                <a:lnTo>
                  <a:pt x="302619" y="1759376"/>
                </a:lnTo>
                <a:lnTo>
                  <a:pt x="56134" y="441177"/>
                </a:lnTo>
                <a:cubicBezTo>
                  <a:pt x="96064" y="331549"/>
                  <a:pt x="162187" y="232165"/>
                  <a:pt x="218690" y="130652"/>
                </a:cubicBezTo>
                <a:lnTo>
                  <a:pt x="529425" y="1759376"/>
                </a:lnTo>
                <a:lnTo>
                  <a:pt x="589458" y="1759376"/>
                </a:lnTo>
                <a:lnTo>
                  <a:pt x="269716" y="74972"/>
                </a:lnTo>
                <a:lnTo>
                  <a:pt x="2050482" y="1439045"/>
                </a:lnTo>
                <a:lnTo>
                  <a:pt x="1213040" y="1431809"/>
                </a:lnTo>
                <a:lnTo>
                  <a:pt x="681860" y="1759376"/>
                </a:lnTo>
                <a:lnTo>
                  <a:pt x="782510" y="1759376"/>
                </a:lnTo>
                <a:lnTo>
                  <a:pt x="837403" y="1724203"/>
                </a:lnTo>
                <a:cubicBezTo>
                  <a:pt x="918762" y="1671130"/>
                  <a:pt x="999841" y="1617763"/>
                  <a:pt x="1083120" y="1570952"/>
                </a:cubicBezTo>
                <a:cubicBezTo>
                  <a:pt x="1092031" y="1565957"/>
                  <a:pt x="1125746" y="1544304"/>
                  <a:pt x="1132216" y="1550576"/>
                </a:cubicBezTo>
                <a:lnTo>
                  <a:pt x="1017999" y="1759376"/>
                </a:lnTo>
                <a:lnTo>
                  <a:pt x="1084230" y="1759376"/>
                </a:lnTo>
                <a:lnTo>
                  <a:pt x="1225016" y="1485559"/>
                </a:lnTo>
                <a:lnTo>
                  <a:pt x="2031950" y="1485559"/>
                </a:lnTo>
                <a:lnTo>
                  <a:pt x="1887797" y="1759376"/>
                </a:lnTo>
                <a:lnTo>
                  <a:pt x="1949465" y="1759376"/>
                </a:lnTo>
                <a:lnTo>
                  <a:pt x="2108261" y="1473838"/>
                </a:lnTo>
                <a:cubicBezTo>
                  <a:pt x="2117570" y="1452497"/>
                  <a:pt x="2121656" y="1425849"/>
                  <a:pt x="2106757" y="1405984"/>
                </a:cubicBezTo>
                <a:lnTo>
                  <a:pt x="287850" y="5670"/>
                </a:lnTo>
                <a:cubicBezTo>
                  <a:pt x="278953" y="903"/>
                  <a:pt x="264579" y="-814"/>
                  <a:pt x="250677" y="353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FAE8D82-1191-2B58-8A66-1ACBFFBE7BA4}"/>
              </a:ext>
            </a:extLst>
          </p:cNvPr>
          <p:cNvSpPr>
            <a:spLocks/>
          </p:cNvSpPr>
          <p:nvPr/>
        </p:nvSpPr>
        <p:spPr>
          <a:xfrm>
            <a:off x="5364449" y="1103016"/>
            <a:ext cx="3240000" cy="3240000"/>
          </a:xfrm>
          <a:prstGeom prst="roundRect">
            <a:avLst>
              <a:gd name="adj" fmla="val 4075"/>
            </a:avLst>
          </a:prstGeom>
          <a:solidFill>
            <a:srgbClr val="F4F0FC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DB76F49-64D9-4A6B-2752-5FD5BB0CF21F}"/>
              </a:ext>
            </a:extLst>
          </p:cNvPr>
          <p:cNvCxnSpPr>
            <a:cxnSpLocks/>
          </p:cNvCxnSpPr>
          <p:nvPr/>
        </p:nvCxnSpPr>
        <p:spPr>
          <a:xfrm>
            <a:off x="5634448" y="1835195"/>
            <a:ext cx="2700000" cy="0"/>
          </a:xfrm>
          <a:prstGeom prst="line">
            <a:avLst/>
          </a:prstGeom>
          <a:ln w="41275" cap="rnd">
            <a:solidFill>
              <a:schemeClr val="bg1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4372530-DA9B-3378-9E7E-3188BD6E7E95}"/>
              </a:ext>
            </a:extLst>
          </p:cNvPr>
          <p:cNvSpPr txBox="1">
            <a:spLocks/>
          </p:cNvSpPr>
          <p:nvPr/>
        </p:nvSpPr>
        <p:spPr>
          <a:xfrm>
            <a:off x="5645465" y="1885208"/>
            <a:ext cx="858376" cy="677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93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EF5A61">
                    <a:lumMod val="40000"/>
                    <a:lumOff val="60000"/>
                  </a:srgb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rgbClr val="EF5A61">
                  <a:lumMod val="40000"/>
                  <a:lumOff val="60000"/>
                </a:srgb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D2AC5E-3C8B-4D47-258C-AF1E16085FCF}"/>
              </a:ext>
            </a:extLst>
          </p:cNvPr>
          <p:cNvSpPr txBox="1">
            <a:spLocks/>
          </p:cNvSpPr>
          <p:nvPr/>
        </p:nvSpPr>
        <p:spPr>
          <a:xfrm>
            <a:off x="6592940" y="2062180"/>
            <a:ext cx="1723476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ont satisfaits d'avoir suivi une formation en alternanc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355F467-6A21-3904-6348-3C2A1C33D8E2}"/>
              </a:ext>
            </a:extLst>
          </p:cNvPr>
          <p:cNvCxnSpPr>
            <a:cxnSpLocks/>
          </p:cNvCxnSpPr>
          <p:nvPr/>
        </p:nvCxnSpPr>
        <p:spPr>
          <a:xfrm>
            <a:off x="5645465" y="1835195"/>
            <a:ext cx="2368235" cy="0"/>
          </a:xfrm>
          <a:prstGeom prst="line">
            <a:avLst/>
          </a:prstGeom>
          <a:ln w="41275" cap="rnd">
            <a:solidFill>
              <a:schemeClr val="accent3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1136DBD-F672-D21B-6AEA-F1CFABE4FD40}"/>
              </a:ext>
            </a:extLst>
          </p:cNvPr>
          <p:cNvSpPr txBox="1">
            <a:spLocks/>
          </p:cNvSpPr>
          <p:nvPr/>
        </p:nvSpPr>
        <p:spPr>
          <a:xfrm>
            <a:off x="5634449" y="1275607"/>
            <a:ext cx="2700000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Appréciation des alternant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DBE4745-A1A1-4640-595C-4B30DAB00AD5}"/>
              </a:ext>
            </a:extLst>
          </p:cNvPr>
          <p:cNvCxnSpPr>
            <a:cxnSpLocks/>
          </p:cNvCxnSpPr>
          <p:nvPr/>
        </p:nvCxnSpPr>
        <p:spPr>
          <a:xfrm>
            <a:off x="5634448" y="2658315"/>
            <a:ext cx="2700000" cy="0"/>
          </a:xfrm>
          <a:prstGeom prst="line">
            <a:avLst/>
          </a:prstGeom>
          <a:ln w="41275" cap="rnd">
            <a:solidFill>
              <a:schemeClr val="bg1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33A0C072-1713-7771-82B3-79DBDCD393EE}"/>
              </a:ext>
            </a:extLst>
          </p:cNvPr>
          <p:cNvSpPr txBox="1">
            <a:spLocks/>
          </p:cNvSpPr>
          <p:nvPr/>
        </p:nvSpPr>
        <p:spPr>
          <a:xfrm>
            <a:off x="5645465" y="2708328"/>
            <a:ext cx="858376" cy="677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1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+mn-cs"/>
              </a:rPr>
              <a:t>79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2D0F64">
                    <a:lumMod val="20000"/>
                    <a:lumOff val="80000"/>
                  </a:srgbClr>
                </a:solidFill>
                <a:effectLst/>
                <a:uLnTx/>
                <a:uFillTx/>
                <a:latin typeface="Circular Std Light" panose="020B0404020101020102" pitchFamily="34" charset="0"/>
                <a:ea typeface="+mn-ea"/>
                <a:cs typeface="+mn-cs"/>
              </a:rPr>
              <a:t>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180D696-3567-D405-148F-BB17C13C4DE5}"/>
              </a:ext>
            </a:extLst>
          </p:cNvPr>
          <p:cNvSpPr txBox="1">
            <a:spLocks/>
          </p:cNvSpPr>
          <p:nvPr/>
        </p:nvSpPr>
        <p:spPr>
          <a:xfrm>
            <a:off x="6592940" y="2804509"/>
            <a:ext cx="1723476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J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ugent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/>
                <a:ea typeface="Circular Std Light" panose="020B0404020101020102" pitchFamily="34" charset="0"/>
                <a:cs typeface="Circular Pro Black Italic" panose="020B0A04020101010102" pitchFamily="34" charset="0"/>
              </a:rPr>
              <a:t> la formation déterminante dans leur situation 6 ou 24 mois après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F315EF9-758F-9066-5046-7CA6D8DE0DF5}"/>
              </a:ext>
            </a:extLst>
          </p:cNvPr>
          <p:cNvCxnSpPr>
            <a:cxnSpLocks/>
          </p:cNvCxnSpPr>
          <p:nvPr/>
        </p:nvCxnSpPr>
        <p:spPr>
          <a:xfrm>
            <a:off x="5645465" y="2658315"/>
            <a:ext cx="1878863" cy="0"/>
          </a:xfrm>
          <a:prstGeom prst="line">
            <a:avLst/>
          </a:prstGeom>
          <a:ln w="41275"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B3AAD24-11A9-EC52-CA3E-2941D6D12919}"/>
              </a:ext>
            </a:extLst>
          </p:cNvPr>
          <p:cNvSpPr txBox="1">
            <a:spLocks/>
          </p:cNvSpPr>
          <p:nvPr/>
        </p:nvSpPr>
        <p:spPr>
          <a:xfrm>
            <a:off x="6664948" y="3577436"/>
            <a:ext cx="1723476" cy="615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Light" panose="020B0404020101020102" pitchFamily="34" charset="0"/>
              </a:rPr>
              <a:t>8,6</a:t>
            </a:r>
            <a:r>
              <a:rPr kumimoji="0" lang="fr-FR" sz="4000" b="0" i="0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/</a:t>
            </a:r>
            <a:r>
              <a:rPr kumimoji="0" lang="fr-FR" sz="40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Light" panose="020B0404020101020102" pitchFamily="34" charset="0"/>
              </a:rPr>
              <a:t>10</a:t>
            </a:r>
            <a:endParaRPr kumimoji="0" lang="fr-FR" sz="4000" b="0" i="1" u="none" strike="noStrike" kern="1200" cap="none" spc="0" normalizeH="0" baseline="0" noProof="0" dirty="0">
              <a:ln>
                <a:noFill/>
              </a:ln>
              <a:solidFill>
                <a:srgbClr val="EF5A61"/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02AD0ED-A119-6C74-A332-208634761E2D}"/>
              </a:ext>
            </a:extLst>
          </p:cNvPr>
          <p:cNvSpPr txBox="1">
            <a:spLocks/>
          </p:cNvSpPr>
          <p:nvPr/>
        </p:nvSpPr>
        <p:spPr>
          <a:xfrm>
            <a:off x="5508104" y="3804421"/>
            <a:ext cx="1518824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+mn-cs"/>
              </a:rPr>
              <a:t>Recommandation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E63532D3-7C3E-E6BD-B0CA-05563750C288}"/>
              </a:ext>
            </a:extLst>
          </p:cNvPr>
          <p:cNvCxnSpPr>
            <a:cxnSpLocks/>
          </p:cNvCxnSpPr>
          <p:nvPr/>
        </p:nvCxnSpPr>
        <p:spPr>
          <a:xfrm rot="5400000">
            <a:off x="6989957" y="2136944"/>
            <a:ext cx="0" cy="2688983"/>
          </a:xfrm>
          <a:prstGeom prst="line">
            <a:avLst/>
          </a:prstGeom>
          <a:ln w="9525"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F2F39F5C-AE01-6022-6503-845E4AF0A21E}"/>
              </a:ext>
            </a:extLst>
          </p:cNvPr>
          <p:cNvSpPr txBox="1">
            <a:spLocks/>
          </p:cNvSpPr>
          <p:nvPr/>
        </p:nvSpPr>
        <p:spPr>
          <a:xfrm>
            <a:off x="2987823" y="1275607"/>
            <a:ext cx="1961727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Circular Std Light" panose="020B0404020101020102" pitchFamily="34" charset="0"/>
                <a:cs typeface="Circular Std Bold" panose="020B0804020101010102" pitchFamily="34" charset="0"/>
              </a:rPr>
              <a:t>Le vécu des alternants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CDF52E1D-DA98-9BA3-6ADA-8A0119608982}"/>
              </a:ext>
            </a:extLst>
          </p:cNvPr>
          <p:cNvSpPr txBox="1">
            <a:spLocks/>
          </p:cNvSpPr>
          <p:nvPr/>
        </p:nvSpPr>
        <p:spPr>
          <a:xfrm>
            <a:off x="805504" y="1842708"/>
            <a:ext cx="7200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Light" panose="020B0404020101020102" pitchFamily="34" charset="0"/>
              </a:rPr>
              <a:t>87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2D0F64">
                    <a:lumMod val="20000"/>
                    <a:lumOff val="80000"/>
                  </a:srgbClr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%</a:t>
            </a:r>
            <a:endParaRPr kumimoji="0" lang="fr-FR" sz="2800" b="0" i="0" u="none" strike="noStrike" kern="1200" cap="none" spc="0" normalizeH="0" baseline="0" noProof="0" dirty="0">
              <a:ln>
                <a:noFill/>
              </a:ln>
              <a:solidFill>
                <a:srgbClr val="2D0F64">
                  <a:lumMod val="20000"/>
                  <a:lumOff val="80000"/>
                </a:srgbClr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A7560B22-FA9C-8637-3465-2E7CB21EA590}"/>
              </a:ext>
            </a:extLst>
          </p:cNvPr>
          <p:cNvSpPr txBox="1">
            <a:spLocks/>
          </p:cNvSpPr>
          <p:nvPr/>
        </p:nvSpPr>
        <p:spPr>
          <a:xfrm>
            <a:off x="1529551" y="1965818"/>
            <a:ext cx="34200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nt satisfaits des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+mn-ea"/>
                <a:cs typeface="Circular Pro Black Italic" panose="020B0A04020101010102" pitchFamily="34" charset="0"/>
              </a:rPr>
              <a:t>périodes en entreprise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DEFFEF55-FABC-E8DC-9D22-0170E11A87F8}"/>
              </a:ext>
            </a:extLst>
          </p:cNvPr>
          <p:cNvSpPr txBox="1">
            <a:spLocks/>
          </p:cNvSpPr>
          <p:nvPr/>
        </p:nvSpPr>
        <p:spPr>
          <a:xfrm>
            <a:off x="805504" y="2322557"/>
            <a:ext cx="7200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1" u="none" strike="noStrike" cap="none" spc="0" normalizeH="0" baseline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cs typeface="Circular Std Light" panose="020B0404020101020102" pitchFamily="34" charset="0"/>
              </a:defRPr>
            </a:lvl1pPr>
          </a:lstStyle>
          <a:p>
            <a:r>
              <a:rPr lang="fr-FR" dirty="0"/>
              <a:t>80</a:t>
            </a:r>
            <a:r>
              <a:rPr lang="fr-FR" sz="1600" i="0" dirty="0">
                <a:solidFill>
                  <a:srgbClr val="2D0F64">
                    <a:lumMod val="20000"/>
                    <a:lumOff val="80000"/>
                  </a:srgbClr>
                </a:solidFill>
                <a:latin typeface="Circular Std Light" panose="020B0404020101020102" pitchFamily="34" charset="0"/>
                <a:ea typeface="Circular Std Light" panose="020B0404020101020102" pitchFamily="34" charset="0"/>
              </a:rPr>
              <a:t>%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EC82AA57-F42B-D02A-BBBB-1BBCB04DF8A8}"/>
              </a:ext>
            </a:extLst>
          </p:cNvPr>
          <p:cNvSpPr txBox="1">
            <a:spLocks/>
          </p:cNvSpPr>
          <p:nvPr/>
        </p:nvSpPr>
        <p:spPr>
          <a:xfrm>
            <a:off x="1529551" y="2353335"/>
            <a:ext cx="34200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Sont satisfaits de la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+mn-ea"/>
                <a:cs typeface="Circular Pro Black Italic" panose="020B0A04020101010102" pitchFamily="34" charset="0"/>
              </a:rPr>
              <a:t>formation dispensée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par l'organisme de formation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4D3D6526-7652-721A-CC9B-9418C974E136}"/>
              </a:ext>
            </a:extLst>
          </p:cNvPr>
          <p:cNvSpPr txBox="1">
            <a:spLocks/>
          </p:cNvSpPr>
          <p:nvPr/>
        </p:nvSpPr>
        <p:spPr>
          <a:xfrm>
            <a:off x="805504" y="2802406"/>
            <a:ext cx="7200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1" u="none" strike="noStrike" cap="none" spc="0" normalizeH="0" baseline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cs typeface="Circular Std Light" panose="020B0404020101020102" pitchFamily="34" charset="0"/>
              </a:defRPr>
            </a:lvl1pPr>
          </a:lstStyle>
          <a:p>
            <a:r>
              <a:rPr lang="fr-FR" dirty="0"/>
              <a:t>86</a:t>
            </a:r>
            <a:r>
              <a:rPr lang="fr-FR" sz="1600" i="0" dirty="0">
                <a:solidFill>
                  <a:srgbClr val="2D0F64">
                    <a:lumMod val="20000"/>
                    <a:lumOff val="80000"/>
                  </a:srgbClr>
                </a:solidFill>
                <a:latin typeface="Circular Std Light" panose="020B0404020101020102" pitchFamily="34" charset="0"/>
                <a:ea typeface="Circular Std Light" panose="020B0404020101020102" pitchFamily="34" charset="0"/>
              </a:rPr>
              <a:t>%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AD6C377B-AE0D-ABEF-1605-FFA6E0630DF8}"/>
              </a:ext>
            </a:extLst>
          </p:cNvPr>
          <p:cNvSpPr txBox="1">
            <a:spLocks/>
          </p:cNvSpPr>
          <p:nvPr/>
        </p:nvSpPr>
        <p:spPr>
          <a:xfrm>
            <a:off x="1529551" y="2833184"/>
            <a:ext cx="34200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s alternants jugent les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+mn-ea"/>
                <a:cs typeface="Circular Pro Black Italic" panose="020B0A04020101010102" pitchFamily="34" charset="0"/>
              </a:rPr>
              <a:t>missions en entreprise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et la formation suivie en adéquation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5D0B36DC-1F42-82B6-0AB9-A9AF7819DE27}"/>
              </a:ext>
            </a:extLst>
          </p:cNvPr>
          <p:cNvSpPr txBox="1">
            <a:spLocks/>
          </p:cNvSpPr>
          <p:nvPr/>
        </p:nvSpPr>
        <p:spPr>
          <a:xfrm>
            <a:off x="805504" y="3762102"/>
            <a:ext cx="7200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1" u="none" strike="noStrike" cap="none" spc="0" normalizeH="0" baseline="0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cs typeface="Circular Std Light" panose="020B0404020101020102" pitchFamily="34" charset="0"/>
              </a:defRPr>
            </a:lvl1pPr>
          </a:lstStyle>
          <a:p>
            <a:r>
              <a:rPr lang="fr-FR" dirty="0"/>
              <a:t>93</a:t>
            </a:r>
            <a:r>
              <a:rPr lang="fr-FR" sz="1600" i="0" dirty="0">
                <a:solidFill>
                  <a:srgbClr val="2D0F64">
                    <a:lumMod val="20000"/>
                    <a:lumOff val="80000"/>
                  </a:srgbClr>
                </a:solidFill>
                <a:latin typeface="Circular Std Light" panose="020B0404020101020102" pitchFamily="34" charset="0"/>
                <a:ea typeface="Circular Std Light" panose="020B0404020101020102" pitchFamily="34" charset="0"/>
              </a:rPr>
              <a:t>%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8B5A5F7F-C276-7C92-58F0-C5574BB9BBB1}"/>
              </a:ext>
            </a:extLst>
          </p:cNvPr>
          <p:cNvSpPr txBox="1">
            <a:spLocks/>
          </p:cNvSpPr>
          <p:nvPr/>
        </p:nvSpPr>
        <p:spPr>
          <a:xfrm>
            <a:off x="1529551" y="3885212"/>
            <a:ext cx="34200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s alternants ont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+mn-ea"/>
                <a:cs typeface="Circular Pro Black Italic" panose="020B0A04020101010102" pitchFamily="34" charset="0"/>
              </a:rPr>
              <a:t>obtenu leur diplôme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ED36CE64-E553-2B1E-5E5C-4E5EB2E7EAFB}"/>
              </a:ext>
            </a:extLst>
          </p:cNvPr>
          <p:cNvSpPr txBox="1">
            <a:spLocks/>
          </p:cNvSpPr>
          <p:nvPr/>
        </p:nvSpPr>
        <p:spPr>
          <a:xfrm>
            <a:off x="805504" y="3282255"/>
            <a:ext cx="7200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1" u="none" strike="noStrike" cap="none" spc="0" normalizeH="0" baseline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cs typeface="Circular Std Light" panose="020B0404020101020102" pitchFamily="34" charset="0"/>
              </a:defRPr>
            </a:lvl1pPr>
          </a:lstStyle>
          <a:p>
            <a:r>
              <a:rPr lang="fr-FR" dirty="0"/>
              <a:t>64</a:t>
            </a:r>
            <a:r>
              <a:rPr lang="fr-FR" sz="1600" i="0" dirty="0">
                <a:solidFill>
                  <a:srgbClr val="2D0F64">
                    <a:lumMod val="20000"/>
                    <a:lumOff val="80000"/>
                  </a:srgbClr>
                </a:solidFill>
                <a:latin typeface="Circular Std Light" panose="020B0404020101020102" pitchFamily="34" charset="0"/>
                <a:ea typeface="Circular Std Light" panose="020B0404020101020102" pitchFamily="34" charset="0"/>
              </a:rPr>
              <a:t>%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F1C301DF-4B00-9F38-54CD-DAA88880A76E}"/>
              </a:ext>
            </a:extLst>
          </p:cNvPr>
          <p:cNvSpPr txBox="1">
            <a:spLocks/>
          </p:cNvSpPr>
          <p:nvPr/>
        </p:nvSpPr>
        <p:spPr>
          <a:xfrm>
            <a:off x="1529551" y="3313033"/>
            <a:ext cx="34200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Pro Black Italic" panose="020B0A04020101010102" pitchFamily="34" charset="0"/>
                <a:ea typeface="+mn-ea"/>
                <a:cs typeface="Circular Pro Black Italic" panose="020B0A04020101010102" pitchFamily="34" charset="0"/>
              </a:rPr>
              <a:t>Principal apport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t>de la formation en alternance : acquérir une expérience professionnelle</a:t>
            </a:r>
          </a:p>
        </p:txBody>
      </p:sp>
      <p:sp>
        <p:nvSpPr>
          <p:cNvPr id="230" name="Graphic 125">
            <a:extLst>
              <a:ext uri="{FF2B5EF4-FFF2-40B4-BE49-F238E27FC236}">
                <a16:creationId xmlns:a16="http://schemas.microsoft.com/office/drawing/2014/main" id="{9B1EFE2D-127A-B723-DCB8-29BFD4DBEA93}"/>
              </a:ext>
            </a:extLst>
          </p:cNvPr>
          <p:cNvSpPr/>
          <p:nvPr/>
        </p:nvSpPr>
        <p:spPr>
          <a:xfrm>
            <a:off x="8438080" y="3879514"/>
            <a:ext cx="332738" cy="353468"/>
          </a:xfrm>
          <a:custGeom>
            <a:avLst/>
            <a:gdLst>
              <a:gd name="csX0" fmla="*/ 4821122 w 4843674"/>
              <a:gd name="csY0" fmla="*/ 3217468 h 5145436"/>
              <a:gd name="csX1" fmla="*/ 658719 w 4843674"/>
              <a:gd name="csY1" fmla="*/ 12976 h 5145436"/>
              <a:gd name="csX2" fmla="*/ 495062 w 4843674"/>
              <a:gd name="csY2" fmla="*/ 28238 h 5145436"/>
              <a:gd name="csX3" fmla="*/ 18119 w 4843674"/>
              <a:gd name="csY3" fmla="*/ 899386 h 5145436"/>
              <a:gd name="csX4" fmla="*/ 0 w 4843674"/>
              <a:gd name="csY4" fmla="*/ 1010244 h 5145436"/>
              <a:gd name="csX5" fmla="*/ 750289 w 4843674"/>
              <a:gd name="csY5" fmla="*/ 5018407 h 5145436"/>
              <a:gd name="csX6" fmla="*/ 955899 w 4843674"/>
              <a:gd name="csY6" fmla="*/ 5129395 h 5145436"/>
              <a:gd name="csX7" fmla="*/ 2330161 w 4843674"/>
              <a:gd name="csY7" fmla="*/ 4274743 h 5145436"/>
              <a:gd name="csX8" fmla="*/ 4331386 w 4843674"/>
              <a:gd name="csY8" fmla="*/ 4259546 h 5145436"/>
              <a:gd name="csX9" fmla="*/ 4824564 w 4843674"/>
              <a:gd name="csY9" fmla="*/ 3372747 h 5145436"/>
              <a:gd name="csX10" fmla="*/ 4821122 w 4843674"/>
              <a:gd name="csY10" fmla="*/ 3217468 h 5145436"/>
              <a:gd name="csX11" fmla="*/ 892709 w 4843674"/>
              <a:gd name="csY11" fmla="*/ 4907354 h 5145436"/>
              <a:gd name="csX12" fmla="*/ 851275 w 4843674"/>
              <a:gd name="csY12" fmla="*/ 4875208 h 5145436"/>
              <a:gd name="csX13" fmla="*/ 128458 w 4843674"/>
              <a:gd name="csY13" fmla="*/ 1009594 h 5145436"/>
              <a:gd name="csX14" fmla="*/ 500452 w 4843674"/>
              <a:gd name="csY14" fmla="*/ 298986 h 5145436"/>
              <a:gd name="csX15" fmla="*/ 1248792 w 4843674"/>
              <a:gd name="csY15" fmla="*/ 4221425 h 5145436"/>
              <a:gd name="csX16" fmla="*/ 892709 w 4843674"/>
              <a:gd name="csY16" fmla="*/ 4907354 h 5145436"/>
              <a:gd name="csX17" fmla="*/ 2249437 w 4843674"/>
              <a:gd name="csY17" fmla="*/ 4172717 h 5145436"/>
              <a:gd name="csX18" fmla="*/ 1020517 w 4843674"/>
              <a:gd name="csY18" fmla="*/ 4928526 h 5145436"/>
              <a:gd name="csX19" fmla="*/ 1350169 w 4843674"/>
              <a:gd name="csY19" fmla="*/ 4292342 h 5145436"/>
              <a:gd name="csX20" fmla="*/ 2478621 w 4843674"/>
              <a:gd name="csY20" fmla="*/ 3594982 h 5145436"/>
              <a:gd name="csX21" fmla="*/ 2590973 w 4843674"/>
              <a:gd name="csY21" fmla="*/ 3548353 h 5145436"/>
              <a:gd name="csX22" fmla="*/ 2249437 w 4843674"/>
              <a:gd name="csY22" fmla="*/ 4172717 h 5145436"/>
              <a:gd name="csX23" fmla="*/ 4265468 w 4843674"/>
              <a:gd name="csY23" fmla="*/ 4129854 h 5145436"/>
              <a:gd name="csX24" fmla="*/ 4194810 w 4843674"/>
              <a:gd name="csY24" fmla="*/ 4165314 h 5145436"/>
              <a:gd name="csX25" fmla="*/ 2421277 w 4843674"/>
              <a:gd name="csY25" fmla="*/ 4142648 h 5145436"/>
              <a:gd name="csX26" fmla="*/ 2803337 w 4843674"/>
              <a:gd name="csY26" fmla="*/ 3399568 h 5145436"/>
              <a:gd name="csX27" fmla="*/ 4649932 w 4843674"/>
              <a:gd name="csY27" fmla="*/ 3399568 h 5145436"/>
              <a:gd name="csX28" fmla="*/ 4265468 w 4843674"/>
              <a:gd name="csY28" fmla="*/ 4129854 h 5145436"/>
              <a:gd name="csX29" fmla="*/ 2775931 w 4843674"/>
              <a:gd name="csY29" fmla="*/ 3276566 h 5145436"/>
              <a:gd name="csX30" fmla="*/ 1371080 w 4843674"/>
              <a:gd name="csY30" fmla="*/ 4142908 h 5145436"/>
              <a:gd name="csX31" fmla="*/ 617220 w 4843674"/>
              <a:gd name="csY31" fmla="*/ 171567 h 5145436"/>
              <a:gd name="csX32" fmla="*/ 4692340 w 4843674"/>
              <a:gd name="csY32" fmla="*/ 3293126 h 5145436"/>
              <a:gd name="csX33" fmla="*/ 2775931 w 4843674"/>
              <a:gd name="csY33" fmla="*/ 3276566 h 514543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4843674" h="5145436">
                <a:moveTo>
                  <a:pt x="4821122" y="3217468"/>
                </a:moveTo>
                <a:lnTo>
                  <a:pt x="658719" y="12976"/>
                </a:lnTo>
                <a:cubicBezTo>
                  <a:pt x="617999" y="-8845"/>
                  <a:pt x="527144" y="-2740"/>
                  <a:pt x="495062" y="28238"/>
                </a:cubicBezTo>
                <a:lnTo>
                  <a:pt x="18119" y="899386"/>
                </a:lnTo>
                <a:lnTo>
                  <a:pt x="0" y="1010244"/>
                </a:lnTo>
                <a:lnTo>
                  <a:pt x="750289" y="5018407"/>
                </a:lnTo>
                <a:cubicBezTo>
                  <a:pt x="767304" y="5138552"/>
                  <a:pt x="844586" y="5168231"/>
                  <a:pt x="955899" y="5129395"/>
                </a:cubicBezTo>
                <a:lnTo>
                  <a:pt x="2330161" y="4274743"/>
                </a:lnTo>
                <a:lnTo>
                  <a:pt x="4331386" y="4259546"/>
                </a:lnTo>
                <a:lnTo>
                  <a:pt x="4824564" y="3372747"/>
                </a:lnTo>
                <a:cubicBezTo>
                  <a:pt x="4845865" y="3323910"/>
                  <a:pt x="4855217" y="3262928"/>
                  <a:pt x="4821122" y="3217468"/>
                </a:cubicBezTo>
                <a:close/>
                <a:moveTo>
                  <a:pt x="892709" y="4907354"/>
                </a:moveTo>
                <a:cubicBezTo>
                  <a:pt x="857315" y="4941839"/>
                  <a:pt x="856211" y="4902159"/>
                  <a:pt x="851275" y="4875208"/>
                </a:cubicBezTo>
                <a:cubicBezTo>
                  <a:pt x="616051" y="3585436"/>
                  <a:pt x="371995" y="2297742"/>
                  <a:pt x="128458" y="1009594"/>
                </a:cubicBezTo>
                <a:cubicBezTo>
                  <a:pt x="219833" y="758719"/>
                  <a:pt x="371150" y="531288"/>
                  <a:pt x="500452" y="298986"/>
                </a:cubicBezTo>
                <a:lnTo>
                  <a:pt x="1248792" y="4221425"/>
                </a:lnTo>
                <a:lnTo>
                  <a:pt x="892709" y="4907354"/>
                </a:lnTo>
                <a:close/>
                <a:moveTo>
                  <a:pt x="2249437" y="4172717"/>
                </a:moveTo>
                <a:lnTo>
                  <a:pt x="1020517" y="4928526"/>
                </a:lnTo>
                <a:lnTo>
                  <a:pt x="1350169" y="4292342"/>
                </a:lnTo>
                <a:cubicBezTo>
                  <a:pt x="1736451" y="4083485"/>
                  <a:pt x="2097470" y="3809230"/>
                  <a:pt x="2478621" y="3594982"/>
                </a:cubicBezTo>
                <a:cubicBezTo>
                  <a:pt x="2499013" y="3583552"/>
                  <a:pt x="2576166" y="3534001"/>
                  <a:pt x="2590973" y="3548353"/>
                </a:cubicBezTo>
                <a:lnTo>
                  <a:pt x="2249437" y="4172717"/>
                </a:lnTo>
                <a:close/>
                <a:moveTo>
                  <a:pt x="4265468" y="4129854"/>
                </a:moveTo>
                <a:lnTo>
                  <a:pt x="4194810" y="4165314"/>
                </a:lnTo>
                <a:lnTo>
                  <a:pt x="2421277" y="4142648"/>
                </a:lnTo>
                <a:lnTo>
                  <a:pt x="2803337" y="3399568"/>
                </a:lnTo>
                <a:lnTo>
                  <a:pt x="4649932" y="3399568"/>
                </a:lnTo>
                <a:lnTo>
                  <a:pt x="4265468" y="4129854"/>
                </a:lnTo>
                <a:close/>
                <a:moveTo>
                  <a:pt x="2775931" y="3276566"/>
                </a:moveTo>
                <a:lnTo>
                  <a:pt x="1371080" y="4142908"/>
                </a:lnTo>
                <a:lnTo>
                  <a:pt x="617220" y="171567"/>
                </a:lnTo>
                <a:lnTo>
                  <a:pt x="4692340" y="3293126"/>
                </a:lnTo>
                <a:lnTo>
                  <a:pt x="2775931" y="3276566"/>
                </a:ln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lIns="0" tIns="0" rIns="0" bIns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C7D64A-FB00-A75B-46F9-2A8F671BE184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545BA0-44CE-0245-7F2D-6DD3D7086722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9803917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09C5A2-AB14-2AEC-267C-904756DE0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CB1EC71-70DE-BA82-0734-9FF2BD09BBBF}"/>
              </a:ext>
            </a:extLst>
          </p:cNvPr>
          <p:cNvSpPr/>
          <p:nvPr/>
        </p:nvSpPr>
        <p:spPr>
          <a:xfrm flipH="1">
            <a:off x="4283968" y="300941"/>
            <a:ext cx="4860032" cy="4842559"/>
          </a:xfrm>
          <a:custGeom>
            <a:avLst/>
            <a:gdLst>
              <a:gd name="csX0" fmla="*/ 0 w 4860032"/>
              <a:gd name="csY0" fmla="*/ 3539183 h 4842559"/>
              <a:gd name="csX1" fmla="*/ 0 w 4860032"/>
              <a:gd name="csY1" fmla="*/ 4497994 h 4842559"/>
              <a:gd name="csX2" fmla="*/ 65738 w 4860032"/>
              <a:gd name="csY2" fmla="*/ 4842559 h 4842559"/>
              <a:gd name="csX3" fmla="*/ 247413 w 4860032"/>
              <a:gd name="csY3" fmla="*/ 4842559 h 4842559"/>
              <a:gd name="csX4" fmla="*/ 0 w 4860032"/>
              <a:gd name="csY4" fmla="*/ 0 h 4842559"/>
              <a:gd name="csX5" fmla="*/ 0 w 4860032"/>
              <a:gd name="csY5" fmla="*/ 249227 h 4842559"/>
              <a:gd name="csX6" fmla="*/ 4659844 w 4860032"/>
              <a:gd name="csY6" fmla="*/ 3818690 h 4842559"/>
              <a:gd name="csX7" fmla="*/ 2124794 w 4860032"/>
              <a:gd name="csY7" fmla="*/ 3796783 h 4842559"/>
              <a:gd name="csX8" fmla="*/ 428977 w 4860032"/>
              <a:gd name="csY8" fmla="*/ 4842559 h 4842559"/>
              <a:gd name="csX9" fmla="*/ 736960 w 4860032"/>
              <a:gd name="csY9" fmla="*/ 4842559 h 4842559"/>
              <a:gd name="csX10" fmla="*/ 987688 w 4860032"/>
              <a:gd name="csY10" fmla="*/ 4681901 h 4842559"/>
              <a:gd name="csX11" fmla="*/ 1731509 w 4860032"/>
              <a:gd name="csY11" fmla="*/ 4217989 h 4842559"/>
              <a:gd name="csX12" fmla="*/ 1880129 w 4860032"/>
              <a:gd name="csY12" fmla="*/ 4156307 h 4842559"/>
              <a:gd name="csX13" fmla="*/ 1504740 w 4860032"/>
              <a:gd name="csY13" fmla="*/ 4842559 h 4842559"/>
              <a:gd name="csX14" fmla="*/ 1707013 w 4860032"/>
              <a:gd name="csY14" fmla="*/ 4842559 h 4842559"/>
              <a:gd name="csX15" fmla="*/ 2161048 w 4860032"/>
              <a:gd name="csY15" fmla="*/ 3959492 h 4842559"/>
              <a:gd name="csX16" fmla="*/ 4603746 w 4860032"/>
              <a:gd name="csY16" fmla="*/ 3959492 h 4842559"/>
              <a:gd name="csX17" fmla="*/ 4138851 w 4860032"/>
              <a:gd name="csY17" fmla="*/ 4842559 h 4842559"/>
              <a:gd name="csX18" fmla="*/ 4323918 w 4860032"/>
              <a:gd name="csY18" fmla="*/ 4842559 h 4842559"/>
              <a:gd name="csX19" fmla="*/ 4834752 w 4860032"/>
              <a:gd name="csY19" fmla="*/ 3924013 h 4842559"/>
              <a:gd name="csX20" fmla="*/ 4830199 w 4860032"/>
              <a:gd name="csY20" fmla="*/ 3718607 h 484255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860032" h="4842559">
                <a:moveTo>
                  <a:pt x="0" y="3539183"/>
                </a:moveTo>
                <a:lnTo>
                  <a:pt x="0" y="4497994"/>
                </a:lnTo>
                <a:lnTo>
                  <a:pt x="65738" y="4842559"/>
                </a:lnTo>
                <a:lnTo>
                  <a:pt x="247413" y="4842559"/>
                </a:lnTo>
                <a:close/>
                <a:moveTo>
                  <a:pt x="0" y="0"/>
                </a:moveTo>
                <a:lnTo>
                  <a:pt x="0" y="249227"/>
                </a:lnTo>
                <a:lnTo>
                  <a:pt x="4659844" y="3818690"/>
                </a:lnTo>
                <a:lnTo>
                  <a:pt x="2124794" y="3796783"/>
                </a:lnTo>
                <a:lnTo>
                  <a:pt x="428977" y="4842559"/>
                </a:lnTo>
                <a:lnTo>
                  <a:pt x="736960" y="4842559"/>
                </a:lnTo>
                <a:lnTo>
                  <a:pt x="987688" y="4681901"/>
                </a:lnTo>
                <a:cubicBezTo>
                  <a:pt x="1233975" y="4521243"/>
                  <a:pt x="1479413" y="4359694"/>
                  <a:pt x="1731509" y="4217989"/>
                </a:cubicBezTo>
                <a:cubicBezTo>
                  <a:pt x="1758484" y="4202869"/>
                  <a:pt x="1860542" y="4137321"/>
                  <a:pt x="1880129" y="4156307"/>
                </a:cubicBezTo>
                <a:lnTo>
                  <a:pt x="1504740" y="4842559"/>
                </a:lnTo>
                <a:lnTo>
                  <a:pt x="1707013" y="4842559"/>
                </a:lnTo>
                <a:lnTo>
                  <a:pt x="2161048" y="3959492"/>
                </a:lnTo>
                <a:lnTo>
                  <a:pt x="4603746" y="3959492"/>
                </a:lnTo>
                <a:lnTo>
                  <a:pt x="4138851" y="4842559"/>
                </a:lnTo>
                <a:lnTo>
                  <a:pt x="4323918" y="4842559"/>
                </a:lnTo>
                <a:lnTo>
                  <a:pt x="4834752" y="3924013"/>
                </a:lnTo>
                <a:cubicBezTo>
                  <a:pt x="4862930" y="3859410"/>
                  <a:pt x="4875300" y="3778743"/>
                  <a:pt x="4830199" y="3718607"/>
                </a:cubicBez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BFCC3DE-DF25-4200-EC48-DD0BEF65D93A}"/>
              </a:ext>
            </a:extLst>
          </p:cNvPr>
          <p:cNvSpPr/>
          <p:nvPr/>
        </p:nvSpPr>
        <p:spPr>
          <a:xfrm>
            <a:off x="0" y="0"/>
            <a:ext cx="3994499" cy="2954241"/>
          </a:xfrm>
          <a:custGeom>
            <a:avLst/>
            <a:gdLst>
              <a:gd name="csX0" fmla="*/ 1295515 w 3994499"/>
              <a:gd name="csY0" fmla="*/ 1380130 h 2954241"/>
              <a:gd name="csX1" fmla="*/ 790120 w 3994499"/>
              <a:gd name="csY1" fmla="*/ 2363087 h 2954241"/>
              <a:gd name="csX2" fmla="*/ 3136172 w 3994499"/>
              <a:gd name="csY2" fmla="*/ 2393069 h 2954241"/>
              <a:gd name="csX3" fmla="*/ 3229640 w 3994499"/>
              <a:gd name="csY3" fmla="*/ 2346163 h 2954241"/>
              <a:gd name="csX4" fmla="*/ 3738213 w 3994499"/>
              <a:gd name="csY4" fmla="*/ 1380130 h 2954241"/>
              <a:gd name="csX5" fmla="*/ 2176400 w 3994499"/>
              <a:gd name="csY5" fmla="*/ 0 h 2954241"/>
              <a:gd name="csX6" fmla="*/ 2484870 w 3994499"/>
              <a:gd name="csY6" fmla="*/ 0 h 2954241"/>
              <a:gd name="csX7" fmla="*/ 3964666 w 3994499"/>
              <a:gd name="csY7" fmla="*/ 1139245 h 2954241"/>
              <a:gd name="csX8" fmla="*/ 3969219 w 3994499"/>
              <a:gd name="csY8" fmla="*/ 1344651 h 2954241"/>
              <a:gd name="csX9" fmla="*/ 3316836 w 3994499"/>
              <a:gd name="csY9" fmla="*/ 2517721 h 2954241"/>
              <a:gd name="csX10" fmla="*/ 669591 w 3994499"/>
              <a:gd name="csY10" fmla="*/ 2537823 h 2954241"/>
              <a:gd name="csX11" fmla="*/ 0 w 3994499"/>
              <a:gd name="csY11" fmla="*/ 2954241 h 2954241"/>
              <a:gd name="csX12" fmla="*/ 0 w 3994499"/>
              <a:gd name="csY12" fmla="*/ 2749000 h 2954241"/>
              <a:gd name="csX13" fmla="*/ 562808 w 3994499"/>
              <a:gd name="csY13" fmla="*/ 2402862 h 2954241"/>
              <a:gd name="csX14" fmla="*/ 1014596 w 3994499"/>
              <a:gd name="csY14" fmla="*/ 1576945 h 2954241"/>
              <a:gd name="csX15" fmla="*/ 865976 w 3994499"/>
              <a:gd name="csY15" fmla="*/ 1638627 h 2954241"/>
              <a:gd name="csX16" fmla="*/ 122155 w 3994499"/>
              <a:gd name="csY16" fmla="*/ 2102539 h 2954241"/>
              <a:gd name="csX17" fmla="*/ 0 w 3994499"/>
              <a:gd name="csY17" fmla="*/ 2180812 h 2954241"/>
              <a:gd name="csX18" fmla="*/ 0 w 3994499"/>
              <a:gd name="csY18" fmla="*/ 1993982 h 2954241"/>
              <a:gd name="csX19" fmla="*/ 1259261 w 3994499"/>
              <a:gd name="csY19" fmla="*/ 1217421 h 2954241"/>
              <a:gd name="csX20" fmla="*/ 3794311 w 3994499"/>
              <a:gd name="csY20" fmla="*/ 1239328 h 295424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3994499" h="2954241">
                <a:moveTo>
                  <a:pt x="1295515" y="1380130"/>
                </a:moveTo>
                <a:lnTo>
                  <a:pt x="790120" y="2363087"/>
                </a:lnTo>
                <a:lnTo>
                  <a:pt x="3136172" y="2393069"/>
                </a:lnTo>
                <a:lnTo>
                  <a:pt x="3229640" y="2346163"/>
                </a:lnTo>
                <a:lnTo>
                  <a:pt x="3738213" y="1380130"/>
                </a:lnTo>
                <a:close/>
                <a:moveTo>
                  <a:pt x="2176400" y="0"/>
                </a:moveTo>
                <a:lnTo>
                  <a:pt x="2484870" y="0"/>
                </a:lnTo>
                <a:lnTo>
                  <a:pt x="3964666" y="1139245"/>
                </a:lnTo>
                <a:cubicBezTo>
                  <a:pt x="4009767" y="1199381"/>
                  <a:pt x="3997397" y="1280048"/>
                  <a:pt x="3969219" y="1344651"/>
                </a:cubicBezTo>
                <a:lnTo>
                  <a:pt x="3316836" y="2517721"/>
                </a:lnTo>
                <a:lnTo>
                  <a:pt x="669591" y="2537823"/>
                </a:lnTo>
                <a:lnTo>
                  <a:pt x="0" y="2954241"/>
                </a:lnTo>
                <a:lnTo>
                  <a:pt x="0" y="2749000"/>
                </a:lnTo>
                <a:lnTo>
                  <a:pt x="562808" y="2402862"/>
                </a:lnTo>
                <a:lnTo>
                  <a:pt x="1014596" y="1576945"/>
                </a:lnTo>
                <a:cubicBezTo>
                  <a:pt x="995009" y="1557959"/>
                  <a:pt x="892951" y="1623507"/>
                  <a:pt x="865976" y="1638627"/>
                </a:cubicBezTo>
                <a:cubicBezTo>
                  <a:pt x="613880" y="1780332"/>
                  <a:pt x="368442" y="1941881"/>
                  <a:pt x="122155" y="2102539"/>
                </a:cubicBezTo>
                <a:lnTo>
                  <a:pt x="0" y="2180812"/>
                </a:lnTo>
                <a:lnTo>
                  <a:pt x="0" y="1993982"/>
                </a:lnTo>
                <a:lnTo>
                  <a:pt x="1259261" y="1217421"/>
                </a:lnTo>
                <a:lnTo>
                  <a:pt x="3794311" y="1239328"/>
                </a:lnTo>
                <a:close/>
              </a:path>
            </a:pathLst>
          </a:custGeom>
          <a:solidFill>
            <a:schemeClr val="accent2">
              <a:alpha val="5000"/>
            </a:schemeClr>
          </a:solidFill>
          <a:ln w="858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000C78-EA43-E669-AA5F-C338FCD97A75}"/>
              </a:ext>
            </a:extLst>
          </p:cNvPr>
          <p:cNvSpPr txBox="1">
            <a:spLocks/>
          </p:cNvSpPr>
          <p:nvPr/>
        </p:nvSpPr>
        <p:spPr>
          <a:xfrm>
            <a:off x="539552" y="267494"/>
            <a:ext cx="3024336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0" dirty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KEY NUMBER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70D88E-593B-9EDA-61B0-A58F1C7C1C41}"/>
              </a:ext>
            </a:extLst>
          </p:cNvPr>
          <p:cNvSpPr/>
          <p:nvPr/>
        </p:nvSpPr>
        <p:spPr>
          <a:xfrm>
            <a:off x="0" y="4659982"/>
            <a:ext cx="9144000" cy="483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3ECAD81-9045-041B-BFEA-C274A0B9465C}"/>
              </a:ext>
            </a:extLst>
          </p:cNvPr>
          <p:cNvSpPr/>
          <p:nvPr/>
        </p:nvSpPr>
        <p:spPr>
          <a:xfrm>
            <a:off x="559466" y="4477228"/>
            <a:ext cx="783008" cy="564892"/>
          </a:xfrm>
          <a:custGeom>
            <a:avLst/>
            <a:gdLst>
              <a:gd name="csX0" fmla="*/ 3578775 w 7129354"/>
              <a:gd name="csY0" fmla="*/ 5139247 h 5143408"/>
              <a:gd name="csX1" fmla="*/ 3578799 w 7129354"/>
              <a:gd name="csY1" fmla="*/ 5139249 h 5143408"/>
              <a:gd name="csX2" fmla="*/ 3578755 w 7129354"/>
              <a:gd name="csY2" fmla="*/ 5139249 h 5143408"/>
              <a:gd name="csX3" fmla="*/ 1074598 w 7129354"/>
              <a:gd name="csY3" fmla="*/ 0 h 5143408"/>
              <a:gd name="csX4" fmla="*/ 1084447 w 7129354"/>
              <a:gd name="csY4" fmla="*/ 131 h 5143408"/>
              <a:gd name="csX5" fmla="*/ 1254325 w 7129354"/>
              <a:gd name="csY5" fmla="*/ 42844 h 5143408"/>
              <a:gd name="csX6" fmla="*/ 1281628 w 7129354"/>
              <a:gd name="csY6" fmla="*/ 60661 h 5143408"/>
              <a:gd name="csX7" fmla="*/ 1313869 w 7129354"/>
              <a:gd name="csY7" fmla="*/ 57782 h 5143408"/>
              <a:gd name="csX8" fmla="*/ 1781816 w 7129354"/>
              <a:gd name="csY8" fmla="*/ 57782 h 5143408"/>
              <a:gd name="csX9" fmla="*/ 1834951 w 7129354"/>
              <a:gd name="csY9" fmla="*/ 63397 h 5143408"/>
              <a:gd name="csX10" fmla="*/ 1871336 w 7129354"/>
              <a:gd name="csY10" fmla="*/ 58526 h 5143408"/>
              <a:gd name="csX11" fmla="*/ 2007212 w 7129354"/>
              <a:gd name="csY11" fmla="*/ 58789 h 5143408"/>
              <a:gd name="csX12" fmla="*/ 2213391 w 7129354"/>
              <a:gd name="csY12" fmla="*/ 116790 h 5143408"/>
              <a:gd name="csX13" fmla="*/ 2421627 w 7129354"/>
              <a:gd name="csY13" fmla="*/ 58001 h 5143408"/>
              <a:gd name="csX14" fmla="*/ 2586394 w 7129354"/>
              <a:gd name="csY14" fmla="*/ 58001 h 5143408"/>
              <a:gd name="csX15" fmla="*/ 2738699 w 7129354"/>
              <a:gd name="csY15" fmla="*/ 88173 h 5143408"/>
              <a:gd name="csX16" fmla="*/ 2769748 w 7129354"/>
              <a:gd name="csY16" fmla="*/ 104659 h 5143408"/>
              <a:gd name="csX17" fmla="*/ 2783906 w 7129354"/>
              <a:gd name="csY17" fmla="*/ 97694 h 5143408"/>
              <a:gd name="csX18" fmla="*/ 2865982 w 7129354"/>
              <a:gd name="csY18" fmla="*/ 70695 h 5143408"/>
              <a:gd name="csX19" fmla="*/ 3065981 w 7129354"/>
              <a:gd name="csY19" fmla="*/ 45261 h 5143408"/>
              <a:gd name="csX20" fmla="*/ 3266994 w 7129354"/>
              <a:gd name="csY20" fmla="*/ 72665 h 5143408"/>
              <a:gd name="csX21" fmla="*/ 3354804 w 7129354"/>
              <a:gd name="csY21" fmla="*/ 105392 h 5143408"/>
              <a:gd name="csX22" fmla="*/ 3410743 w 7129354"/>
              <a:gd name="csY22" fmla="*/ 137475 h 5143408"/>
              <a:gd name="csX23" fmla="*/ 3447358 w 7129354"/>
              <a:gd name="csY23" fmla="*/ 111717 h 5143408"/>
              <a:gd name="csX24" fmla="*/ 3647700 w 7129354"/>
              <a:gd name="csY24" fmla="*/ 57694 h 5143408"/>
              <a:gd name="csX25" fmla="*/ 3921510 w 7129354"/>
              <a:gd name="csY25" fmla="*/ 57913 h 5143408"/>
              <a:gd name="csX26" fmla="*/ 4092826 w 7129354"/>
              <a:gd name="csY26" fmla="*/ 85034 h 5143408"/>
              <a:gd name="csX27" fmla="*/ 4110526 w 7129354"/>
              <a:gd name="csY27" fmla="*/ 90869 h 5143408"/>
              <a:gd name="csX28" fmla="*/ 4128356 w 7129354"/>
              <a:gd name="csY28" fmla="*/ 82449 h 5143408"/>
              <a:gd name="csX29" fmla="*/ 4266540 w 7129354"/>
              <a:gd name="csY29" fmla="*/ 57738 h 5143408"/>
              <a:gd name="csX30" fmla="*/ 4676707 w 7129354"/>
              <a:gd name="csY30" fmla="*/ 57738 h 5143408"/>
              <a:gd name="csX31" fmla="*/ 4981289 w 7129354"/>
              <a:gd name="csY31" fmla="*/ 199348 h 5143408"/>
              <a:gd name="csX32" fmla="*/ 5069320 w 7129354"/>
              <a:gd name="csY32" fmla="*/ 523542 h 5143408"/>
              <a:gd name="csX33" fmla="*/ 5049053 w 7129354"/>
              <a:gd name="csY33" fmla="*/ 641558 h 5143408"/>
              <a:gd name="csX34" fmla="*/ 4957826 w 7129354"/>
              <a:gd name="csY34" fmla="*/ 834604 h 5143408"/>
              <a:gd name="csX35" fmla="*/ 4954981 w 7129354"/>
              <a:gd name="csY35" fmla="*/ 928632 h 5143408"/>
              <a:gd name="csX36" fmla="*/ 4936859 w 7129354"/>
              <a:gd name="csY36" fmla="*/ 1049449 h 5143408"/>
              <a:gd name="csX37" fmla="*/ 4903940 w 7129354"/>
              <a:gd name="csY37" fmla="*/ 1158837 h 5143408"/>
              <a:gd name="csX38" fmla="*/ 4929149 w 7129354"/>
              <a:gd name="csY38" fmla="*/ 1265324 h 5143408"/>
              <a:gd name="csX39" fmla="*/ 4928290 w 7129354"/>
              <a:gd name="csY39" fmla="*/ 1284700 h 5143408"/>
              <a:gd name="csX40" fmla="*/ 4931164 w 7129354"/>
              <a:gd name="csY40" fmla="*/ 1283341 h 5143408"/>
              <a:gd name="csX41" fmla="*/ 5069276 w 7129354"/>
              <a:gd name="csY41" fmla="*/ 1258555 h 5143408"/>
              <a:gd name="csX42" fmla="*/ 5202132 w 7129354"/>
              <a:gd name="csY42" fmla="*/ 1258467 h 5143408"/>
              <a:gd name="csX43" fmla="*/ 5320497 w 7129354"/>
              <a:gd name="csY43" fmla="*/ 1276415 h 5143408"/>
              <a:gd name="csX44" fmla="*/ 5440396 w 7129354"/>
              <a:gd name="csY44" fmla="*/ 1257986 h 5143408"/>
              <a:gd name="csX45" fmla="*/ 5568436 w 7129354"/>
              <a:gd name="csY45" fmla="*/ 1258905 h 5143408"/>
              <a:gd name="csX46" fmla="*/ 5654681 w 7129354"/>
              <a:gd name="csY46" fmla="*/ 1268980 h 5143408"/>
              <a:gd name="csX47" fmla="*/ 5700458 w 7129354"/>
              <a:gd name="csY47" fmla="*/ 1284844 h 5143408"/>
              <a:gd name="csX48" fmla="*/ 5771697 w 7129354"/>
              <a:gd name="csY48" fmla="*/ 1263737 h 5143408"/>
              <a:gd name="csX49" fmla="*/ 5942664 w 7129354"/>
              <a:gd name="csY49" fmla="*/ 1245686 h 5143408"/>
              <a:gd name="csX50" fmla="*/ 6158141 w 7129354"/>
              <a:gd name="csY50" fmla="*/ 1276268 h 5143408"/>
              <a:gd name="csX51" fmla="*/ 6178087 w 7129354"/>
              <a:gd name="csY51" fmla="*/ 1283922 h 5143408"/>
              <a:gd name="csX52" fmla="*/ 6180610 w 7129354"/>
              <a:gd name="csY52" fmla="*/ 1282731 h 5143408"/>
              <a:gd name="csX53" fmla="*/ 6318818 w 7129354"/>
              <a:gd name="csY53" fmla="*/ 1258030 h 5143408"/>
              <a:gd name="csX54" fmla="*/ 6730999 w 7129354"/>
              <a:gd name="csY54" fmla="*/ 1257986 h 5143408"/>
              <a:gd name="csX55" fmla="*/ 7036063 w 7129354"/>
              <a:gd name="csY55" fmla="*/ 1400165 h 5143408"/>
              <a:gd name="csX56" fmla="*/ 7123349 w 7129354"/>
              <a:gd name="csY56" fmla="*/ 1725278 h 5143408"/>
              <a:gd name="csX57" fmla="*/ 7102863 w 7129354"/>
              <a:gd name="csY57" fmla="*/ 1841806 h 5143408"/>
              <a:gd name="csX58" fmla="*/ 7010105 w 7129354"/>
              <a:gd name="csY58" fmla="*/ 2035421 h 5143408"/>
              <a:gd name="csX59" fmla="*/ 7007435 w 7129354"/>
              <a:gd name="csY59" fmla="*/ 2127828 h 5143408"/>
              <a:gd name="csX60" fmla="*/ 6989881 w 7129354"/>
              <a:gd name="csY60" fmla="*/ 2248121 h 5143408"/>
              <a:gd name="csX61" fmla="*/ 6956962 w 7129354"/>
              <a:gd name="csY61" fmla="*/ 2358564 h 5143408"/>
              <a:gd name="csX62" fmla="*/ 6977712 w 7129354"/>
              <a:gd name="csY62" fmla="*/ 2576385 h 5143408"/>
              <a:gd name="csX63" fmla="*/ 6955649 w 7129354"/>
              <a:gd name="csY63" fmla="*/ 2695408 h 5143408"/>
              <a:gd name="csX64" fmla="*/ 6914143 w 7129354"/>
              <a:gd name="csY64" fmla="*/ 2806103 h 5143408"/>
              <a:gd name="csX65" fmla="*/ 6941109 w 7129354"/>
              <a:gd name="csY65" fmla="*/ 2855466 h 5143408"/>
              <a:gd name="csX66" fmla="*/ 6969438 w 7129354"/>
              <a:gd name="csY66" fmla="*/ 2969174 h 5143408"/>
              <a:gd name="csX67" fmla="*/ 6952278 w 7129354"/>
              <a:gd name="csY67" fmla="*/ 3191110 h 5143408"/>
              <a:gd name="csX68" fmla="*/ 6951491 w 7129354"/>
              <a:gd name="csY68" fmla="*/ 3248893 h 5143408"/>
              <a:gd name="csX69" fmla="*/ 6920542 w 7129354"/>
              <a:gd name="csY69" fmla="*/ 3426967 h 5143408"/>
              <a:gd name="csX70" fmla="*/ 6880543 w 7129354"/>
              <a:gd name="csY70" fmla="*/ 3525772 h 5143408"/>
              <a:gd name="csX71" fmla="*/ 6854251 w 7129354"/>
              <a:gd name="csY71" fmla="*/ 3563255 h 5143408"/>
              <a:gd name="csX72" fmla="*/ 6873862 w 7129354"/>
              <a:gd name="csY72" fmla="*/ 3639800 h 5143408"/>
              <a:gd name="csX73" fmla="*/ 6879438 w 7129354"/>
              <a:gd name="csY73" fmla="*/ 3753700 h 5143408"/>
              <a:gd name="csX74" fmla="*/ 6859608 w 7129354"/>
              <a:gd name="csY74" fmla="*/ 3895836 h 5143408"/>
              <a:gd name="csX75" fmla="*/ 6856194 w 7129354"/>
              <a:gd name="csY75" fmla="*/ 3913346 h 5143408"/>
              <a:gd name="csX76" fmla="*/ 6843806 w 7129354"/>
              <a:gd name="csY76" fmla="*/ 3975987 h 5143408"/>
              <a:gd name="csX77" fmla="*/ 6775648 w 7129354"/>
              <a:gd name="csY77" fmla="*/ 4213989 h 5143408"/>
              <a:gd name="csX78" fmla="*/ 6389120 w 7129354"/>
              <a:gd name="csY78" fmla="*/ 4455974 h 5143408"/>
              <a:gd name="csX79" fmla="*/ 6315404 w 7129354"/>
              <a:gd name="csY79" fmla="*/ 4458250 h 5143408"/>
              <a:gd name="csX80" fmla="*/ 6315491 w 7129354"/>
              <a:gd name="csY80" fmla="*/ 4458163 h 5143408"/>
              <a:gd name="csX81" fmla="*/ 6246853 w 7129354"/>
              <a:gd name="csY81" fmla="*/ 4456587 h 5143408"/>
              <a:gd name="csX82" fmla="*/ 6174453 w 7129354"/>
              <a:gd name="csY82" fmla="*/ 4445736 h 5143408"/>
              <a:gd name="csX83" fmla="*/ 6170089 w 7129354"/>
              <a:gd name="csY83" fmla="*/ 4446903 h 5143408"/>
              <a:gd name="csX84" fmla="*/ 6094036 w 7129354"/>
              <a:gd name="csY84" fmla="*/ 4453523 h 5143408"/>
              <a:gd name="csX85" fmla="*/ 6090745 w 7129354"/>
              <a:gd name="csY85" fmla="*/ 4453432 h 5143408"/>
              <a:gd name="csX86" fmla="*/ 6089494 w 7129354"/>
              <a:gd name="csY86" fmla="*/ 4487463 h 5143408"/>
              <a:gd name="csX87" fmla="*/ 6074470 w 7129354"/>
              <a:gd name="csY87" fmla="*/ 4576923 h 5143408"/>
              <a:gd name="csX88" fmla="*/ 6070836 w 7129354"/>
              <a:gd name="csY88" fmla="*/ 4595746 h 5143408"/>
              <a:gd name="csX89" fmla="*/ 6058492 w 7129354"/>
              <a:gd name="csY89" fmla="*/ 4656811 h 5143408"/>
              <a:gd name="csX90" fmla="*/ 5942052 w 7129354"/>
              <a:gd name="csY90" fmla="*/ 4966384 h 5143408"/>
              <a:gd name="csX91" fmla="*/ 5583057 w 7129354"/>
              <a:gd name="csY91" fmla="*/ 5137630 h 5143408"/>
              <a:gd name="csX92" fmla="*/ 5581087 w 7129354"/>
              <a:gd name="csY92" fmla="*/ 5137630 h 5143408"/>
              <a:gd name="csX93" fmla="*/ 5558325 w 7129354"/>
              <a:gd name="csY93" fmla="*/ 5138155 h 5143408"/>
              <a:gd name="csX94" fmla="*/ 5511880 w 7129354"/>
              <a:gd name="csY94" fmla="*/ 5139031 h 5143408"/>
              <a:gd name="csX95" fmla="*/ 5410323 w 7129354"/>
              <a:gd name="csY95" fmla="*/ 5132377 h 5143408"/>
              <a:gd name="csX96" fmla="*/ 5380608 w 7129354"/>
              <a:gd name="csY96" fmla="*/ 5125145 h 5143408"/>
              <a:gd name="csX97" fmla="*/ 5312399 w 7129354"/>
              <a:gd name="csY97" fmla="*/ 5136229 h 5143408"/>
              <a:gd name="csX98" fmla="*/ 5229840 w 7129354"/>
              <a:gd name="csY98" fmla="*/ 5138899 h 5143408"/>
              <a:gd name="csX99" fmla="*/ 5145443 w 7129354"/>
              <a:gd name="csY99" fmla="*/ 5135791 h 5143408"/>
              <a:gd name="csX100" fmla="*/ 5106458 w 7129354"/>
              <a:gd name="csY100" fmla="*/ 5128675 h 5143408"/>
              <a:gd name="csX101" fmla="*/ 5073150 w 7129354"/>
              <a:gd name="csY101" fmla="*/ 5135283 h 5143408"/>
              <a:gd name="csX102" fmla="*/ 5014952 w 7129354"/>
              <a:gd name="csY102" fmla="*/ 5139074 h 5143408"/>
              <a:gd name="csX103" fmla="*/ 5014996 w 7129354"/>
              <a:gd name="csY103" fmla="*/ 5139118 h 5143408"/>
              <a:gd name="csX104" fmla="*/ 4917904 w 7129354"/>
              <a:gd name="csY104" fmla="*/ 5128350 h 5143408"/>
              <a:gd name="csX105" fmla="*/ 4913220 w 7129354"/>
              <a:gd name="csY105" fmla="*/ 5129400 h 5143408"/>
              <a:gd name="csX106" fmla="*/ 4822738 w 7129354"/>
              <a:gd name="csY106" fmla="*/ 5138855 h 5143408"/>
              <a:gd name="csX107" fmla="*/ 4759037 w 7129354"/>
              <a:gd name="csY107" fmla="*/ 5132192 h 5143408"/>
              <a:gd name="csX108" fmla="*/ 4733788 w 7129354"/>
              <a:gd name="csY108" fmla="*/ 5137499 h 5143408"/>
              <a:gd name="csX109" fmla="*/ 4697631 w 7129354"/>
              <a:gd name="csY109" fmla="*/ 5138987 h 5143408"/>
              <a:gd name="csX110" fmla="*/ 4697631 w 7129354"/>
              <a:gd name="csY110" fmla="*/ 5139031 h 5143408"/>
              <a:gd name="csX111" fmla="*/ 4653550 w 7129354"/>
              <a:gd name="csY111" fmla="*/ 5136798 h 5143408"/>
              <a:gd name="csX112" fmla="*/ 4650967 w 7129354"/>
              <a:gd name="csY112" fmla="*/ 5136930 h 5143408"/>
              <a:gd name="csX113" fmla="*/ 4579089 w 7129354"/>
              <a:gd name="csY113" fmla="*/ 5138768 h 5143408"/>
              <a:gd name="csX114" fmla="*/ 4510495 w 7129354"/>
              <a:gd name="csY114" fmla="*/ 5136536 h 5143408"/>
              <a:gd name="csX115" fmla="*/ 4474702 w 7129354"/>
              <a:gd name="csY115" fmla="*/ 5130507 h 5143408"/>
              <a:gd name="csX116" fmla="*/ 4466615 w 7129354"/>
              <a:gd name="csY116" fmla="*/ 5132683 h 5143408"/>
              <a:gd name="csX117" fmla="*/ 4390640 w 7129354"/>
              <a:gd name="csY117" fmla="*/ 5139338 h 5143408"/>
              <a:gd name="csX118" fmla="*/ 4390640 w 7129354"/>
              <a:gd name="csY118" fmla="*/ 5139381 h 5143408"/>
              <a:gd name="csX119" fmla="*/ 4292585 w 7129354"/>
              <a:gd name="csY119" fmla="*/ 5128481 h 5143408"/>
              <a:gd name="csX120" fmla="*/ 4195844 w 7129354"/>
              <a:gd name="csY120" fmla="*/ 5139075 h 5143408"/>
              <a:gd name="csX121" fmla="*/ 4103568 w 7129354"/>
              <a:gd name="csY121" fmla="*/ 5129404 h 5143408"/>
              <a:gd name="csX122" fmla="*/ 4097519 w 7129354"/>
              <a:gd name="csY122" fmla="*/ 5127430 h 5143408"/>
              <a:gd name="csX123" fmla="*/ 4078618 w 7129354"/>
              <a:gd name="csY123" fmla="*/ 5132448 h 5143408"/>
              <a:gd name="csX124" fmla="*/ 4002142 w 7129354"/>
              <a:gd name="csY124" fmla="*/ 5139074 h 5143408"/>
              <a:gd name="csX125" fmla="*/ 4002142 w 7129354"/>
              <a:gd name="csY125" fmla="*/ 5138987 h 5143408"/>
              <a:gd name="csX126" fmla="*/ 3914220 w 7129354"/>
              <a:gd name="csY126" fmla="*/ 5129783 h 5143408"/>
              <a:gd name="csX127" fmla="*/ 3849763 w 7129354"/>
              <a:gd name="csY127" fmla="*/ 5137498 h 5143408"/>
              <a:gd name="csX128" fmla="*/ 3834223 w 7129354"/>
              <a:gd name="csY128" fmla="*/ 5137848 h 5143408"/>
              <a:gd name="csX129" fmla="*/ 3776747 w 7129354"/>
              <a:gd name="csY129" fmla="*/ 5138768 h 5143408"/>
              <a:gd name="csX130" fmla="*/ 3776835 w 7129354"/>
              <a:gd name="csY130" fmla="*/ 5138812 h 5143408"/>
              <a:gd name="csX131" fmla="*/ 3698479 w 7129354"/>
              <a:gd name="csY131" fmla="*/ 5136054 h 5143408"/>
              <a:gd name="csX132" fmla="*/ 3665410 w 7129354"/>
              <a:gd name="csY132" fmla="*/ 5130034 h 5143408"/>
              <a:gd name="csX133" fmla="*/ 3578775 w 7129354"/>
              <a:gd name="csY133" fmla="*/ 5139247 h 5143408"/>
              <a:gd name="csX134" fmla="*/ 3495124 w 7129354"/>
              <a:gd name="csY134" fmla="*/ 5132169 h 5143408"/>
              <a:gd name="csX135" fmla="*/ 3469482 w 7129354"/>
              <a:gd name="csY135" fmla="*/ 5126747 h 5143408"/>
              <a:gd name="csX136" fmla="*/ 3447001 w 7129354"/>
              <a:gd name="csY136" fmla="*/ 5132830 h 5143408"/>
              <a:gd name="csX137" fmla="*/ 3370652 w 7129354"/>
              <a:gd name="csY137" fmla="*/ 5139556 h 5143408"/>
              <a:gd name="csX138" fmla="*/ 3370696 w 7129354"/>
              <a:gd name="csY138" fmla="*/ 5139512 h 5143408"/>
              <a:gd name="csX139" fmla="*/ 3304181 w 7129354"/>
              <a:gd name="csY139" fmla="*/ 5131323 h 5143408"/>
              <a:gd name="csX140" fmla="*/ 3272377 w 7129354"/>
              <a:gd name="csY140" fmla="*/ 5137805 h 5143408"/>
              <a:gd name="csX141" fmla="*/ 3240904 w 7129354"/>
              <a:gd name="csY141" fmla="*/ 5138943 h 5143408"/>
              <a:gd name="csX142" fmla="*/ 3199405 w 7129354"/>
              <a:gd name="csY142" fmla="*/ 5136930 h 5143408"/>
              <a:gd name="csX143" fmla="*/ 3141229 w 7129354"/>
              <a:gd name="csY143" fmla="*/ 5139687 h 5143408"/>
              <a:gd name="csX144" fmla="*/ 3141142 w 7129354"/>
              <a:gd name="csY144" fmla="*/ 5139731 h 5143408"/>
              <a:gd name="csX145" fmla="*/ 3091151 w 7129354"/>
              <a:gd name="csY145" fmla="*/ 5138418 h 5143408"/>
              <a:gd name="csX146" fmla="*/ 3074167 w 7129354"/>
              <a:gd name="csY146" fmla="*/ 5137761 h 5143408"/>
              <a:gd name="csX147" fmla="*/ 2975426 w 7129354"/>
              <a:gd name="csY147" fmla="*/ 5124350 h 5143408"/>
              <a:gd name="csX148" fmla="*/ 2950676 w 7129354"/>
              <a:gd name="csY148" fmla="*/ 5115248 h 5143408"/>
              <a:gd name="csX149" fmla="*/ 2944059 w 7129354"/>
              <a:gd name="csY149" fmla="*/ 5118395 h 5143408"/>
              <a:gd name="csX150" fmla="*/ 2805699 w 7129354"/>
              <a:gd name="csY150" fmla="*/ 5143364 h 5143408"/>
              <a:gd name="csX151" fmla="*/ 2805742 w 7129354"/>
              <a:gd name="csY151" fmla="*/ 5143408 h 5143408"/>
              <a:gd name="csX152" fmla="*/ 2743407 w 7129354"/>
              <a:gd name="csY152" fmla="*/ 5138505 h 5143408"/>
              <a:gd name="csX153" fmla="*/ 2693635 w 7129354"/>
              <a:gd name="csY153" fmla="*/ 5130670 h 5143408"/>
              <a:gd name="csX154" fmla="*/ 2433483 w 7129354"/>
              <a:gd name="csY154" fmla="*/ 4971681 h 5143408"/>
              <a:gd name="csX155" fmla="*/ 2361956 w 7129354"/>
              <a:gd name="csY155" fmla="*/ 4675284 h 5143408"/>
              <a:gd name="csX156" fmla="*/ 2431042 w 7129354"/>
              <a:gd name="csY156" fmla="*/ 4235785 h 5143408"/>
              <a:gd name="csX157" fmla="*/ 2413565 w 7129354"/>
              <a:gd name="csY157" fmla="*/ 4209070 h 5143408"/>
              <a:gd name="csX158" fmla="*/ 2408919 w 7129354"/>
              <a:gd name="csY158" fmla="*/ 4196980 h 5143408"/>
              <a:gd name="csX159" fmla="*/ 2351674 w 7129354"/>
              <a:gd name="csY159" fmla="*/ 4209961 h 5143408"/>
              <a:gd name="csX160" fmla="*/ 2219387 w 7129354"/>
              <a:gd name="csY160" fmla="*/ 4220117 h 5143408"/>
              <a:gd name="csX161" fmla="*/ 2219387 w 7129354"/>
              <a:gd name="csY161" fmla="*/ 4220029 h 5143408"/>
              <a:gd name="csX162" fmla="*/ 2117782 w 7129354"/>
              <a:gd name="csY162" fmla="*/ 4213170 h 5143408"/>
              <a:gd name="csX163" fmla="*/ 2038944 w 7129354"/>
              <a:gd name="csY163" fmla="*/ 4196344 h 5143408"/>
              <a:gd name="csX164" fmla="*/ 2031411 w 7129354"/>
              <a:gd name="csY164" fmla="*/ 4199650 h 5143408"/>
              <a:gd name="csX165" fmla="*/ 1901541 w 7129354"/>
              <a:gd name="csY165" fmla="*/ 4221387 h 5143408"/>
              <a:gd name="csX166" fmla="*/ 1489229 w 7129354"/>
              <a:gd name="csY166" fmla="*/ 4221387 h 5143408"/>
              <a:gd name="csX167" fmla="*/ 1489229 w 7129354"/>
              <a:gd name="csY167" fmla="*/ 4221431 h 5143408"/>
              <a:gd name="csX168" fmla="*/ 1402702 w 7129354"/>
              <a:gd name="csY168" fmla="*/ 4211922 h 5143408"/>
              <a:gd name="csX169" fmla="*/ 1372815 w 7129354"/>
              <a:gd name="csY169" fmla="*/ 4201777 h 5143408"/>
              <a:gd name="csX170" fmla="*/ 1301787 w 7129354"/>
              <a:gd name="csY170" fmla="*/ 4219066 h 5143408"/>
              <a:gd name="csX171" fmla="*/ 1163854 w 7129354"/>
              <a:gd name="csY171" fmla="*/ 4230973 h 5143408"/>
              <a:gd name="csX172" fmla="*/ 1163898 w 7129354"/>
              <a:gd name="csY172" fmla="*/ 4231017 h 5143408"/>
              <a:gd name="csX173" fmla="*/ 1016597 w 7129354"/>
              <a:gd name="csY173" fmla="*/ 4216396 h 5143408"/>
              <a:gd name="csX174" fmla="*/ 963285 w 7129354"/>
              <a:gd name="csY174" fmla="*/ 4200694 h 5143408"/>
              <a:gd name="csX175" fmla="*/ 957845 w 7129354"/>
              <a:gd name="csY175" fmla="*/ 4202901 h 5143408"/>
              <a:gd name="csX176" fmla="*/ 836596 w 7129354"/>
              <a:gd name="csY176" fmla="*/ 4221781 h 5143408"/>
              <a:gd name="csX177" fmla="*/ 424372 w 7129354"/>
              <a:gd name="csY177" fmla="*/ 4221387 h 5143408"/>
              <a:gd name="csX178" fmla="*/ 424416 w 7129354"/>
              <a:gd name="csY178" fmla="*/ 4221299 h 5143408"/>
              <a:gd name="csX179" fmla="*/ 119702 w 7129354"/>
              <a:gd name="csY179" fmla="*/ 4079076 h 5143408"/>
              <a:gd name="csX180" fmla="*/ 32417 w 7129354"/>
              <a:gd name="csY180" fmla="*/ 3754357 h 5143408"/>
              <a:gd name="csX181" fmla="*/ 69011 w 7129354"/>
              <a:gd name="csY181" fmla="*/ 3544940 h 5143408"/>
              <a:gd name="csX182" fmla="*/ 163302 w 7129354"/>
              <a:gd name="csY182" fmla="*/ 3308645 h 5143408"/>
              <a:gd name="csX183" fmla="*/ 148987 w 7129354"/>
              <a:gd name="csY183" fmla="*/ 3114899 h 5143408"/>
              <a:gd name="csX184" fmla="*/ 154590 w 7129354"/>
              <a:gd name="csY184" fmla="*/ 3077166 h 5143408"/>
              <a:gd name="csX185" fmla="*/ 171444 w 7129354"/>
              <a:gd name="csY185" fmla="*/ 2973908 h 5143408"/>
              <a:gd name="csX186" fmla="*/ 188813 w 7129354"/>
              <a:gd name="csY186" fmla="*/ 2911351 h 5143408"/>
              <a:gd name="csX187" fmla="*/ 153625 w 7129354"/>
              <a:gd name="csY187" fmla="*/ 2877597 h 5143408"/>
              <a:gd name="csX188" fmla="*/ 66864 w 7129354"/>
              <a:gd name="csY188" fmla="*/ 2552878 h 5143408"/>
              <a:gd name="csX189" fmla="*/ 231397 w 7129354"/>
              <a:gd name="csY189" fmla="*/ 1619380 h 5143408"/>
              <a:gd name="csX190" fmla="*/ 200905 w 7129354"/>
              <a:gd name="csY190" fmla="*/ 1587433 h 5143408"/>
              <a:gd name="csX191" fmla="*/ 79956 w 7129354"/>
              <a:gd name="csY191" fmla="*/ 1426518 h 5143408"/>
              <a:gd name="csX192" fmla="*/ 95933 w 7129354"/>
              <a:gd name="csY192" fmla="*/ 927887 h 5143408"/>
              <a:gd name="csX193" fmla="*/ 772205 w 7129354"/>
              <a:gd name="csY193" fmla="*/ 139071 h 5143408"/>
              <a:gd name="csX194" fmla="*/ 1074598 w 7129354"/>
              <a:gd name="csY194" fmla="*/ 0 h 514340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</a:cxnLst>
            <a:rect l="l" t="t" r="r" b="b"/>
            <a:pathLst>
              <a:path w="7129354" h="5143408">
                <a:moveTo>
                  <a:pt x="3578775" y="5139247"/>
                </a:moveTo>
                <a:lnTo>
                  <a:pt x="3578799" y="5139249"/>
                </a:lnTo>
                <a:lnTo>
                  <a:pt x="3578755" y="5139249"/>
                </a:lnTo>
                <a:close/>
                <a:moveTo>
                  <a:pt x="1074598" y="0"/>
                </a:moveTo>
                <a:cubicBezTo>
                  <a:pt x="1077882" y="0"/>
                  <a:pt x="1081165" y="0"/>
                  <a:pt x="1084447" y="131"/>
                </a:cubicBezTo>
                <a:cubicBezTo>
                  <a:pt x="1144287" y="1597"/>
                  <a:pt x="1202200" y="16491"/>
                  <a:pt x="1254325" y="42844"/>
                </a:cubicBezTo>
                <a:lnTo>
                  <a:pt x="1281628" y="60661"/>
                </a:lnTo>
                <a:lnTo>
                  <a:pt x="1313869" y="57782"/>
                </a:lnTo>
                <a:lnTo>
                  <a:pt x="1781816" y="57782"/>
                </a:lnTo>
                <a:lnTo>
                  <a:pt x="1834951" y="63397"/>
                </a:lnTo>
                <a:lnTo>
                  <a:pt x="1871336" y="58526"/>
                </a:lnTo>
                <a:cubicBezTo>
                  <a:pt x="1871598" y="58526"/>
                  <a:pt x="2007212" y="58789"/>
                  <a:pt x="2007212" y="58789"/>
                </a:cubicBezTo>
                <a:cubicBezTo>
                  <a:pt x="2080755" y="58920"/>
                  <a:pt x="2151931" y="79407"/>
                  <a:pt x="2213391" y="116790"/>
                </a:cubicBezTo>
                <a:cubicBezTo>
                  <a:pt x="2274719" y="79188"/>
                  <a:pt x="2346376" y="58001"/>
                  <a:pt x="2421627" y="58001"/>
                </a:cubicBezTo>
                <a:cubicBezTo>
                  <a:pt x="2421627" y="58001"/>
                  <a:pt x="2586394" y="58001"/>
                  <a:pt x="2586394" y="58001"/>
                </a:cubicBezTo>
                <a:cubicBezTo>
                  <a:pt x="2640293" y="58001"/>
                  <a:pt x="2691743" y="68723"/>
                  <a:pt x="2738699" y="88173"/>
                </a:cubicBezTo>
                <a:lnTo>
                  <a:pt x="2769748" y="104659"/>
                </a:lnTo>
                <a:lnTo>
                  <a:pt x="2783906" y="97694"/>
                </a:lnTo>
                <a:cubicBezTo>
                  <a:pt x="2810318" y="86908"/>
                  <a:pt x="2837721" y="77863"/>
                  <a:pt x="2865982" y="70695"/>
                </a:cubicBezTo>
                <a:cubicBezTo>
                  <a:pt x="2932425" y="53841"/>
                  <a:pt x="2999750" y="45261"/>
                  <a:pt x="3065981" y="45261"/>
                </a:cubicBezTo>
                <a:cubicBezTo>
                  <a:pt x="3132212" y="45261"/>
                  <a:pt x="3202339" y="54497"/>
                  <a:pt x="3266994" y="72665"/>
                </a:cubicBezTo>
                <a:cubicBezTo>
                  <a:pt x="3297253" y="81178"/>
                  <a:pt x="3326626" y="92158"/>
                  <a:pt x="3354804" y="105392"/>
                </a:cubicBezTo>
                <a:lnTo>
                  <a:pt x="3410743" y="137475"/>
                </a:lnTo>
                <a:lnTo>
                  <a:pt x="3447358" y="111717"/>
                </a:lnTo>
                <a:cubicBezTo>
                  <a:pt x="3506548" y="77239"/>
                  <a:pt x="3575161" y="57694"/>
                  <a:pt x="3647700" y="57694"/>
                </a:cubicBezTo>
                <a:cubicBezTo>
                  <a:pt x="3647832" y="57694"/>
                  <a:pt x="3921510" y="57913"/>
                  <a:pt x="3921510" y="57913"/>
                </a:cubicBezTo>
                <a:cubicBezTo>
                  <a:pt x="3992097" y="57978"/>
                  <a:pt x="4051085" y="72202"/>
                  <a:pt x="4092826" y="85034"/>
                </a:cubicBezTo>
                <a:lnTo>
                  <a:pt x="4110526" y="90869"/>
                </a:lnTo>
                <a:lnTo>
                  <a:pt x="4128356" y="82449"/>
                </a:lnTo>
                <a:cubicBezTo>
                  <a:pt x="4171588" y="66441"/>
                  <a:pt x="4218191" y="57749"/>
                  <a:pt x="4266540" y="57738"/>
                </a:cubicBezTo>
                <a:cubicBezTo>
                  <a:pt x="4266540" y="57738"/>
                  <a:pt x="4676707" y="57738"/>
                  <a:pt x="4676707" y="57738"/>
                </a:cubicBezTo>
                <a:cubicBezTo>
                  <a:pt x="4794153" y="57738"/>
                  <a:pt x="4905604" y="109567"/>
                  <a:pt x="4981289" y="199348"/>
                </a:cubicBezTo>
                <a:cubicBezTo>
                  <a:pt x="5056975" y="289174"/>
                  <a:pt x="5089193" y="407802"/>
                  <a:pt x="5069320" y="523542"/>
                </a:cubicBezTo>
                <a:lnTo>
                  <a:pt x="5049053" y="641558"/>
                </a:lnTo>
                <a:cubicBezTo>
                  <a:pt x="5036402" y="715231"/>
                  <a:pt x="5004008" y="781286"/>
                  <a:pt x="4957826" y="834604"/>
                </a:cubicBezTo>
                <a:cubicBezTo>
                  <a:pt x="4960584" y="865683"/>
                  <a:pt x="4959665" y="897245"/>
                  <a:pt x="4954981" y="928632"/>
                </a:cubicBezTo>
                <a:lnTo>
                  <a:pt x="4936859" y="1049449"/>
                </a:lnTo>
                <a:cubicBezTo>
                  <a:pt x="4931036" y="1088145"/>
                  <a:pt x="4919786" y="1124868"/>
                  <a:pt x="4903940" y="1158837"/>
                </a:cubicBezTo>
                <a:cubicBezTo>
                  <a:pt x="4917182" y="1192981"/>
                  <a:pt x="4925674" y="1228821"/>
                  <a:pt x="4929149" y="1265324"/>
                </a:cubicBezTo>
                <a:lnTo>
                  <a:pt x="4928290" y="1284700"/>
                </a:lnTo>
                <a:lnTo>
                  <a:pt x="4931164" y="1283341"/>
                </a:lnTo>
                <a:cubicBezTo>
                  <a:pt x="4974370" y="1267316"/>
                  <a:pt x="5020949" y="1258599"/>
                  <a:pt x="5069276" y="1258555"/>
                </a:cubicBezTo>
                <a:cubicBezTo>
                  <a:pt x="5069276" y="1258555"/>
                  <a:pt x="5202044" y="1258467"/>
                  <a:pt x="5202132" y="1258467"/>
                </a:cubicBezTo>
                <a:cubicBezTo>
                  <a:pt x="5243148" y="1258467"/>
                  <a:pt x="5282939" y="1264727"/>
                  <a:pt x="5320497" y="1276415"/>
                </a:cubicBezTo>
                <a:cubicBezTo>
                  <a:pt x="5358494" y="1264421"/>
                  <a:pt x="5398810" y="1257986"/>
                  <a:pt x="5440396" y="1257986"/>
                </a:cubicBezTo>
                <a:cubicBezTo>
                  <a:pt x="5441359" y="1257986"/>
                  <a:pt x="5568436" y="1258905"/>
                  <a:pt x="5568436" y="1258905"/>
                </a:cubicBezTo>
                <a:cubicBezTo>
                  <a:pt x="5597732" y="1259113"/>
                  <a:pt x="5626634" y="1262544"/>
                  <a:pt x="5654681" y="1268980"/>
                </a:cubicBezTo>
                <a:lnTo>
                  <a:pt x="5700458" y="1284844"/>
                </a:lnTo>
                <a:lnTo>
                  <a:pt x="5771697" y="1263737"/>
                </a:lnTo>
                <a:cubicBezTo>
                  <a:pt x="5839969" y="1249057"/>
                  <a:pt x="5901013" y="1245686"/>
                  <a:pt x="5942664" y="1245686"/>
                </a:cubicBezTo>
                <a:cubicBezTo>
                  <a:pt x="5999495" y="1245686"/>
                  <a:pt x="6077254" y="1251719"/>
                  <a:pt x="6158141" y="1276268"/>
                </a:cubicBezTo>
                <a:lnTo>
                  <a:pt x="6178087" y="1283922"/>
                </a:lnTo>
                <a:lnTo>
                  <a:pt x="6180610" y="1282731"/>
                </a:lnTo>
                <a:cubicBezTo>
                  <a:pt x="6223847" y="1266719"/>
                  <a:pt x="6270459" y="1258030"/>
                  <a:pt x="6318818" y="1258030"/>
                </a:cubicBezTo>
                <a:cubicBezTo>
                  <a:pt x="6318818" y="1258030"/>
                  <a:pt x="6730999" y="1257986"/>
                  <a:pt x="6730999" y="1257986"/>
                </a:cubicBezTo>
                <a:cubicBezTo>
                  <a:pt x="6848708" y="1257986"/>
                  <a:pt x="6960377" y="1310034"/>
                  <a:pt x="7036063" y="1400165"/>
                </a:cubicBezTo>
                <a:cubicBezTo>
                  <a:pt x="7111749" y="1490297"/>
                  <a:pt x="7143704" y="1609320"/>
                  <a:pt x="7123349" y="1725278"/>
                </a:cubicBezTo>
                <a:lnTo>
                  <a:pt x="7102863" y="1841806"/>
                </a:lnTo>
                <a:cubicBezTo>
                  <a:pt x="7089862" y="1915829"/>
                  <a:pt x="7056899" y="1982103"/>
                  <a:pt x="7010105" y="2035421"/>
                </a:cubicBezTo>
                <a:cubicBezTo>
                  <a:pt x="7012775" y="2065931"/>
                  <a:pt x="7011943" y="2096968"/>
                  <a:pt x="7007435" y="2127828"/>
                </a:cubicBezTo>
                <a:lnTo>
                  <a:pt x="6989881" y="2248121"/>
                </a:lnTo>
                <a:cubicBezTo>
                  <a:pt x="6984190" y="2287211"/>
                  <a:pt x="6972896" y="2324288"/>
                  <a:pt x="6956962" y="2358564"/>
                </a:cubicBezTo>
                <a:cubicBezTo>
                  <a:pt x="6983752" y="2427071"/>
                  <a:pt x="6991413" y="2502450"/>
                  <a:pt x="6977712" y="2576385"/>
                </a:cubicBezTo>
                <a:lnTo>
                  <a:pt x="6955649" y="2695408"/>
                </a:lnTo>
                <a:lnTo>
                  <a:pt x="6914143" y="2806103"/>
                </a:lnTo>
                <a:lnTo>
                  <a:pt x="6941109" y="2855466"/>
                </a:lnTo>
                <a:cubicBezTo>
                  <a:pt x="6955146" y="2891395"/>
                  <a:pt x="6964754" y="2929525"/>
                  <a:pt x="6969438" y="2969174"/>
                </a:cubicBezTo>
                <a:cubicBezTo>
                  <a:pt x="6973378" y="3002617"/>
                  <a:pt x="6983709" y="3090035"/>
                  <a:pt x="6952278" y="3191110"/>
                </a:cubicBezTo>
                <a:cubicBezTo>
                  <a:pt x="6953154" y="3210284"/>
                  <a:pt x="6952935" y="3229544"/>
                  <a:pt x="6951491" y="3248893"/>
                </a:cubicBezTo>
                <a:cubicBezTo>
                  <a:pt x="6946982" y="3310045"/>
                  <a:pt x="6936870" y="3368309"/>
                  <a:pt x="6920542" y="3426967"/>
                </a:cubicBezTo>
                <a:cubicBezTo>
                  <a:pt x="6910879" y="3461713"/>
                  <a:pt x="6897413" y="3494799"/>
                  <a:pt x="6880543" y="3525772"/>
                </a:cubicBezTo>
                <a:lnTo>
                  <a:pt x="6854251" y="3563255"/>
                </a:lnTo>
                <a:lnTo>
                  <a:pt x="6873862" y="3639800"/>
                </a:lnTo>
                <a:cubicBezTo>
                  <a:pt x="6879214" y="3674438"/>
                  <a:pt x="6881474" y="3712366"/>
                  <a:pt x="6879438" y="3753700"/>
                </a:cubicBezTo>
                <a:cubicBezTo>
                  <a:pt x="6876636" y="3810301"/>
                  <a:pt x="6866830" y="3859722"/>
                  <a:pt x="6859608" y="3895836"/>
                </a:cubicBezTo>
                <a:cubicBezTo>
                  <a:pt x="6858470" y="3901570"/>
                  <a:pt x="6856981" y="3909056"/>
                  <a:pt x="6856194" y="3913346"/>
                </a:cubicBezTo>
                <a:cubicBezTo>
                  <a:pt x="6853698" y="3934839"/>
                  <a:pt x="6849540" y="3955719"/>
                  <a:pt x="6843806" y="3975987"/>
                </a:cubicBezTo>
                <a:cubicBezTo>
                  <a:pt x="6839121" y="4061610"/>
                  <a:pt x="6815834" y="4143162"/>
                  <a:pt x="6775648" y="4213989"/>
                </a:cubicBezTo>
                <a:cubicBezTo>
                  <a:pt x="6695498" y="4355293"/>
                  <a:pt x="6550998" y="4445775"/>
                  <a:pt x="6389120" y="4455974"/>
                </a:cubicBezTo>
                <a:cubicBezTo>
                  <a:pt x="6364913" y="4457506"/>
                  <a:pt x="6340837" y="4458250"/>
                  <a:pt x="6315404" y="4458250"/>
                </a:cubicBezTo>
                <a:lnTo>
                  <a:pt x="6315491" y="4458163"/>
                </a:lnTo>
                <a:cubicBezTo>
                  <a:pt x="6294305" y="4458163"/>
                  <a:pt x="6272505" y="4457638"/>
                  <a:pt x="6246853" y="4456587"/>
                </a:cubicBezTo>
                <a:lnTo>
                  <a:pt x="6174453" y="4445736"/>
                </a:lnTo>
                <a:lnTo>
                  <a:pt x="6170089" y="4446903"/>
                </a:lnTo>
                <a:cubicBezTo>
                  <a:pt x="6145405" y="4451258"/>
                  <a:pt x="6119984" y="4453523"/>
                  <a:pt x="6094036" y="4453523"/>
                </a:cubicBezTo>
                <a:lnTo>
                  <a:pt x="6090745" y="4453432"/>
                </a:lnTo>
                <a:lnTo>
                  <a:pt x="6089494" y="4487463"/>
                </a:lnTo>
                <a:cubicBezTo>
                  <a:pt x="6085252" y="4522440"/>
                  <a:pt x="6079219" y="4552924"/>
                  <a:pt x="6074470" y="4576923"/>
                </a:cubicBezTo>
                <a:cubicBezTo>
                  <a:pt x="6073244" y="4583183"/>
                  <a:pt x="6071580" y="4591544"/>
                  <a:pt x="6070836" y="4595746"/>
                </a:cubicBezTo>
                <a:cubicBezTo>
                  <a:pt x="6068297" y="4616670"/>
                  <a:pt x="6064138" y="4637069"/>
                  <a:pt x="6058492" y="4656811"/>
                </a:cubicBezTo>
                <a:cubicBezTo>
                  <a:pt x="6053983" y="4768305"/>
                  <a:pt x="6012922" y="4880236"/>
                  <a:pt x="5942052" y="4966384"/>
                </a:cubicBezTo>
                <a:cubicBezTo>
                  <a:pt x="5852489" y="5075208"/>
                  <a:pt x="5721647" y="5137630"/>
                  <a:pt x="5583057" y="5137630"/>
                </a:cubicBezTo>
                <a:cubicBezTo>
                  <a:pt x="5582663" y="5137630"/>
                  <a:pt x="5581087" y="5137630"/>
                  <a:pt x="5581087" y="5137630"/>
                </a:cubicBezTo>
                <a:cubicBezTo>
                  <a:pt x="5575441" y="5137630"/>
                  <a:pt x="5567123" y="5137892"/>
                  <a:pt x="5558325" y="5138155"/>
                </a:cubicBezTo>
                <a:cubicBezTo>
                  <a:pt x="5544755" y="5138593"/>
                  <a:pt x="5529346" y="5139031"/>
                  <a:pt x="5511880" y="5139031"/>
                </a:cubicBezTo>
                <a:cubicBezTo>
                  <a:pt x="5475547" y="5139031"/>
                  <a:pt x="5442322" y="5136842"/>
                  <a:pt x="5410323" y="5132377"/>
                </a:cubicBezTo>
                <a:lnTo>
                  <a:pt x="5380608" y="5125145"/>
                </a:lnTo>
                <a:lnTo>
                  <a:pt x="5312399" y="5136229"/>
                </a:lnTo>
                <a:cubicBezTo>
                  <a:pt x="5283289" y="5138024"/>
                  <a:pt x="5256280" y="5138899"/>
                  <a:pt x="5229840" y="5138899"/>
                </a:cubicBezTo>
                <a:cubicBezTo>
                  <a:pt x="5201124" y="5138899"/>
                  <a:pt x="5173502" y="5137893"/>
                  <a:pt x="5145443" y="5135791"/>
                </a:cubicBezTo>
                <a:lnTo>
                  <a:pt x="5106458" y="5128675"/>
                </a:lnTo>
                <a:lnTo>
                  <a:pt x="5073150" y="5135283"/>
                </a:lnTo>
                <a:cubicBezTo>
                  <a:pt x="5054117" y="5137785"/>
                  <a:pt x="5034688" y="5139074"/>
                  <a:pt x="5014952" y="5139074"/>
                </a:cubicBezTo>
                <a:lnTo>
                  <a:pt x="5014996" y="5139118"/>
                </a:lnTo>
                <a:cubicBezTo>
                  <a:pt x="4981902" y="5139118"/>
                  <a:pt x="4949334" y="5135441"/>
                  <a:pt x="4917904" y="5128350"/>
                </a:cubicBezTo>
                <a:cubicBezTo>
                  <a:pt x="4916372" y="5128700"/>
                  <a:pt x="4914796" y="5129050"/>
                  <a:pt x="4913220" y="5129400"/>
                </a:cubicBezTo>
                <a:cubicBezTo>
                  <a:pt x="4884110" y="5135660"/>
                  <a:pt x="4853643" y="5138855"/>
                  <a:pt x="4822738" y="5138855"/>
                </a:cubicBezTo>
                <a:lnTo>
                  <a:pt x="4759037" y="5132192"/>
                </a:lnTo>
                <a:lnTo>
                  <a:pt x="4733788" y="5137499"/>
                </a:lnTo>
                <a:cubicBezTo>
                  <a:pt x="4721707" y="5138506"/>
                  <a:pt x="4709581" y="5138987"/>
                  <a:pt x="4697631" y="5138987"/>
                </a:cubicBezTo>
                <a:lnTo>
                  <a:pt x="4697631" y="5139031"/>
                </a:lnTo>
                <a:cubicBezTo>
                  <a:pt x="4682703" y="5139031"/>
                  <a:pt x="4667995" y="5138287"/>
                  <a:pt x="4653550" y="5136798"/>
                </a:cubicBezTo>
                <a:cubicBezTo>
                  <a:pt x="4652674" y="5136798"/>
                  <a:pt x="4651842" y="5136886"/>
                  <a:pt x="4650967" y="5136930"/>
                </a:cubicBezTo>
                <a:cubicBezTo>
                  <a:pt x="4631925" y="5137805"/>
                  <a:pt x="4606405" y="5138768"/>
                  <a:pt x="4579089" y="5138768"/>
                </a:cubicBezTo>
                <a:cubicBezTo>
                  <a:pt x="4555013" y="5138768"/>
                  <a:pt x="4532601" y="5138024"/>
                  <a:pt x="4510495" y="5136536"/>
                </a:cubicBezTo>
                <a:lnTo>
                  <a:pt x="4474702" y="5130507"/>
                </a:lnTo>
                <a:lnTo>
                  <a:pt x="4466615" y="5132683"/>
                </a:lnTo>
                <a:cubicBezTo>
                  <a:pt x="4441950" y="5137061"/>
                  <a:pt x="4416555" y="5139338"/>
                  <a:pt x="4390640" y="5139338"/>
                </a:cubicBezTo>
                <a:lnTo>
                  <a:pt x="4390640" y="5139381"/>
                </a:lnTo>
                <a:cubicBezTo>
                  <a:pt x="4357153" y="5139381"/>
                  <a:pt x="4324278" y="5135660"/>
                  <a:pt x="4292585" y="5128481"/>
                </a:cubicBezTo>
                <a:cubicBezTo>
                  <a:pt x="4261462" y="5135442"/>
                  <a:pt x="4229069" y="5139075"/>
                  <a:pt x="4195844" y="5139075"/>
                </a:cubicBezTo>
                <a:cubicBezTo>
                  <a:pt x="4164403" y="5139075"/>
                  <a:pt x="4133488" y="5135781"/>
                  <a:pt x="4103568" y="5129404"/>
                </a:cubicBezTo>
                <a:lnTo>
                  <a:pt x="4097519" y="5127430"/>
                </a:lnTo>
                <a:lnTo>
                  <a:pt x="4078618" y="5132448"/>
                </a:lnTo>
                <a:cubicBezTo>
                  <a:pt x="4053784" y="5136801"/>
                  <a:pt x="4028221" y="5139069"/>
                  <a:pt x="4002142" y="5139074"/>
                </a:cubicBezTo>
                <a:lnTo>
                  <a:pt x="4002142" y="5138987"/>
                </a:lnTo>
                <a:lnTo>
                  <a:pt x="3914220" y="5129783"/>
                </a:lnTo>
                <a:lnTo>
                  <a:pt x="3849763" y="5137498"/>
                </a:lnTo>
                <a:cubicBezTo>
                  <a:pt x="3844598" y="5137630"/>
                  <a:pt x="3839389" y="5137761"/>
                  <a:pt x="3834223" y="5137848"/>
                </a:cubicBezTo>
                <a:cubicBezTo>
                  <a:pt x="3817020" y="5138287"/>
                  <a:pt x="3797540" y="5138768"/>
                  <a:pt x="3776747" y="5138768"/>
                </a:cubicBezTo>
                <a:lnTo>
                  <a:pt x="3776835" y="5138812"/>
                </a:lnTo>
                <a:cubicBezTo>
                  <a:pt x="3748775" y="5138812"/>
                  <a:pt x="3723167" y="5137892"/>
                  <a:pt x="3698479" y="5136054"/>
                </a:cubicBezTo>
                <a:lnTo>
                  <a:pt x="3665410" y="5130034"/>
                </a:lnTo>
                <a:lnTo>
                  <a:pt x="3578775" y="5139247"/>
                </a:lnTo>
                <a:lnTo>
                  <a:pt x="3495124" y="5132169"/>
                </a:lnTo>
                <a:lnTo>
                  <a:pt x="3469482" y="5126747"/>
                </a:lnTo>
                <a:lnTo>
                  <a:pt x="3447001" y="5132830"/>
                </a:lnTo>
                <a:cubicBezTo>
                  <a:pt x="3422219" y="5137255"/>
                  <a:pt x="3396698" y="5139556"/>
                  <a:pt x="3370652" y="5139556"/>
                </a:cubicBezTo>
                <a:lnTo>
                  <a:pt x="3370696" y="5139512"/>
                </a:lnTo>
                <a:lnTo>
                  <a:pt x="3304181" y="5131323"/>
                </a:lnTo>
                <a:lnTo>
                  <a:pt x="3272377" y="5137805"/>
                </a:lnTo>
                <a:cubicBezTo>
                  <a:pt x="3261871" y="5138593"/>
                  <a:pt x="3251322" y="5138943"/>
                  <a:pt x="3240904" y="5138943"/>
                </a:cubicBezTo>
                <a:cubicBezTo>
                  <a:pt x="3226940" y="5138943"/>
                  <a:pt x="3213063" y="5138243"/>
                  <a:pt x="3199405" y="5136930"/>
                </a:cubicBezTo>
                <a:cubicBezTo>
                  <a:pt x="3180801" y="5138725"/>
                  <a:pt x="3161453" y="5139687"/>
                  <a:pt x="3141229" y="5139687"/>
                </a:cubicBezTo>
                <a:lnTo>
                  <a:pt x="3141142" y="5139731"/>
                </a:lnTo>
                <a:cubicBezTo>
                  <a:pt x="3122187" y="5139731"/>
                  <a:pt x="3104984" y="5138987"/>
                  <a:pt x="3091151" y="5138418"/>
                </a:cubicBezTo>
                <a:cubicBezTo>
                  <a:pt x="3085636" y="5138199"/>
                  <a:pt x="3079989" y="5137936"/>
                  <a:pt x="3074167" y="5137761"/>
                </a:cubicBezTo>
                <a:cubicBezTo>
                  <a:pt x="3040417" y="5136842"/>
                  <a:pt x="3007337" y="5132289"/>
                  <a:pt x="2975426" y="5124350"/>
                </a:cubicBezTo>
                <a:lnTo>
                  <a:pt x="2950676" y="5115248"/>
                </a:lnTo>
                <a:lnTo>
                  <a:pt x="2944059" y="5118395"/>
                </a:lnTo>
                <a:cubicBezTo>
                  <a:pt x="2900593" y="5134604"/>
                  <a:pt x="2853872" y="5143364"/>
                  <a:pt x="2805699" y="5143364"/>
                </a:cubicBezTo>
                <a:lnTo>
                  <a:pt x="2805742" y="5143408"/>
                </a:lnTo>
                <a:cubicBezTo>
                  <a:pt x="2785168" y="5143408"/>
                  <a:pt x="2764375" y="5141832"/>
                  <a:pt x="2743407" y="5138505"/>
                </a:cubicBezTo>
                <a:lnTo>
                  <a:pt x="2693635" y="5130670"/>
                </a:lnTo>
                <a:cubicBezTo>
                  <a:pt x="2589277" y="5114254"/>
                  <a:pt x="2495688" y="5057085"/>
                  <a:pt x="2433483" y="4971681"/>
                </a:cubicBezTo>
                <a:cubicBezTo>
                  <a:pt x="2371280" y="4886277"/>
                  <a:pt x="2345541" y="4779686"/>
                  <a:pt x="2361956" y="4675284"/>
                </a:cubicBezTo>
                <a:lnTo>
                  <a:pt x="2431042" y="4235785"/>
                </a:lnTo>
                <a:lnTo>
                  <a:pt x="2413565" y="4209070"/>
                </a:lnTo>
                <a:lnTo>
                  <a:pt x="2408919" y="4196980"/>
                </a:lnTo>
                <a:lnTo>
                  <a:pt x="2351674" y="4209961"/>
                </a:lnTo>
                <a:cubicBezTo>
                  <a:pt x="2306017" y="4216702"/>
                  <a:pt x="2261499" y="4220117"/>
                  <a:pt x="2219387" y="4220117"/>
                </a:cubicBezTo>
                <a:lnTo>
                  <a:pt x="2219387" y="4220029"/>
                </a:lnTo>
                <a:cubicBezTo>
                  <a:pt x="2183268" y="4220029"/>
                  <a:pt x="2149443" y="4217604"/>
                  <a:pt x="2117782" y="4213170"/>
                </a:cubicBezTo>
                <a:lnTo>
                  <a:pt x="2038944" y="4196344"/>
                </a:lnTo>
                <a:lnTo>
                  <a:pt x="2031411" y="4199650"/>
                </a:lnTo>
                <a:cubicBezTo>
                  <a:pt x="1990459" y="4213784"/>
                  <a:pt x="1946705" y="4221387"/>
                  <a:pt x="1901541" y="4221387"/>
                </a:cubicBezTo>
                <a:cubicBezTo>
                  <a:pt x="1901541" y="4221387"/>
                  <a:pt x="1489229" y="4221387"/>
                  <a:pt x="1489229" y="4221387"/>
                </a:cubicBezTo>
                <a:lnTo>
                  <a:pt x="1489229" y="4221431"/>
                </a:lnTo>
                <a:cubicBezTo>
                  <a:pt x="1459857" y="4221431"/>
                  <a:pt x="1430858" y="4218189"/>
                  <a:pt x="1402702" y="4211922"/>
                </a:cubicBezTo>
                <a:lnTo>
                  <a:pt x="1372815" y="4201777"/>
                </a:lnTo>
                <a:lnTo>
                  <a:pt x="1301787" y="4219066"/>
                </a:lnTo>
                <a:cubicBezTo>
                  <a:pt x="1253460" y="4227077"/>
                  <a:pt x="1208329" y="4230973"/>
                  <a:pt x="1163854" y="4230973"/>
                </a:cubicBezTo>
                <a:lnTo>
                  <a:pt x="1163898" y="4231017"/>
                </a:lnTo>
                <a:cubicBezTo>
                  <a:pt x="1114345" y="4231017"/>
                  <a:pt x="1066149" y="4226245"/>
                  <a:pt x="1016597" y="4216396"/>
                </a:cubicBezTo>
                <a:lnTo>
                  <a:pt x="963285" y="4200694"/>
                </a:lnTo>
                <a:lnTo>
                  <a:pt x="957845" y="4202901"/>
                </a:lnTo>
                <a:cubicBezTo>
                  <a:pt x="919327" y="4215215"/>
                  <a:pt x="878521" y="4221781"/>
                  <a:pt x="836596" y="4221781"/>
                </a:cubicBezTo>
                <a:cubicBezTo>
                  <a:pt x="836464" y="4221781"/>
                  <a:pt x="424372" y="4221387"/>
                  <a:pt x="424372" y="4221387"/>
                </a:cubicBezTo>
                <a:lnTo>
                  <a:pt x="424416" y="4221299"/>
                </a:lnTo>
                <a:cubicBezTo>
                  <a:pt x="306838" y="4221168"/>
                  <a:pt x="195301" y="4169120"/>
                  <a:pt x="119702" y="4079076"/>
                </a:cubicBezTo>
                <a:cubicBezTo>
                  <a:pt x="44103" y="3989032"/>
                  <a:pt x="12148" y="3870184"/>
                  <a:pt x="32417" y="3754357"/>
                </a:cubicBezTo>
                <a:lnTo>
                  <a:pt x="69011" y="3544940"/>
                </a:lnTo>
                <a:cubicBezTo>
                  <a:pt x="85646" y="3449730"/>
                  <a:pt x="122373" y="3371111"/>
                  <a:pt x="163302" y="3308645"/>
                </a:cubicBezTo>
                <a:cubicBezTo>
                  <a:pt x="142815" y="3246792"/>
                  <a:pt x="137606" y="3180299"/>
                  <a:pt x="148987" y="3114899"/>
                </a:cubicBezTo>
                <a:cubicBezTo>
                  <a:pt x="150607" y="3105488"/>
                  <a:pt x="152534" y="3091743"/>
                  <a:pt x="154590" y="3077166"/>
                </a:cubicBezTo>
                <a:cubicBezTo>
                  <a:pt x="158749" y="3047487"/>
                  <a:pt x="163663" y="3012314"/>
                  <a:pt x="171444" y="2973908"/>
                </a:cubicBezTo>
                <a:lnTo>
                  <a:pt x="188813" y="2911351"/>
                </a:lnTo>
                <a:lnTo>
                  <a:pt x="153625" y="2877597"/>
                </a:lnTo>
                <a:cubicBezTo>
                  <a:pt x="78201" y="2787466"/>
                  <a:pt x="46465" y="2668618"/>
                  <a:pt x="66864" y="2552878"/>
                </a:cubicBezTo>
                <a:lnTo>
                  <a:pt x="231397" y="1619380"/>
                </a:lnTo>
                <a:lnTo>
                  <a:pt x="200905" y="1587433"/>
                </a:lnTo>
                <a:lnTo>
                  <a:pt x="79956" y="1426518"/>
                </a:lnTo>
                <a:cubicBezTo>
                  <a:pt x="-32369" y="1277116"/>
                  <a:pt x="-25716" y="1069761"/>
                  <a:pt x="95933" y="927887"/>
                </a:cubicBezTo>
                <a:lnTo>
                  <a:pt x="772205" y="139071"/>
                </a:lnTo>
                <a:cubicBezTo>
                  <a:pt x="847978" y="50690"/>
                  <a:pt x="958508" y="0"/>
                  <a:pt x="1074598" y="0"/>
                </a:cubicBezTo>
                <a:close/>
              </a:path>
            </a:pathLst>
          </a:custGeom>
          <a:solidFill>
            <a:schemeClr val="bg1"/>
          </a:solidFill>
          <a:ln w="4374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C1635C-9D2D-66DA-7358-E053397A388A}"/>
              </a:ext>
            </a:extLst>
          </p:cNvPr>
          <p:cNvGrpSpPr/>
          <p:nvPr/>
        </p:nvGrpSpPr>
        <p:grpSpPr>
          <a:xfrm>
            <a:off x="633561" y="4541815"/>
            <a:ext cx="634818" cy="435719"/>
            <a:chOff x="2730942" y="1047583"/>
            <a:chExt cx="3682116" cy="2527300"/>
          </a:xfrm>
          <a:solidFill>
            <a:schemeClr val="accent1"/>
          </a:solidFill>
        </p:grpSpPr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A0BAF460-84B7-A00C-D249-7856FDC026AF}"/>
                </a:ext>
              </a:extLst>
            </p:cNvPr>
            <p:cNvGrpSpPr/>
            <p:nvPr/>
          </p:nvGrpSpPr>
          <p:grpSpPr>
            <a:xfrm>
              <a:off x="4522024" y="1081104"/>
              <a:ext cx="696590" cy="560595"/>
              <a:chOff x="-3602103" y="5736311"/>
              <a:chExt cx="1417596" cy="114084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1586165B-E574-5386-7D01-85B67FEF105E}"/>
                  </a:ext>
                </a:extLst>
              </p:cNvPr>
              <p:cNvSpPr/>
              <p:nvPr/>
            </p:nvSpPr>
            <p:spPr>
              <a:xfrm>
                <a:off x="-3602103" y="5736311"/>
                <a:ext cx="728001" cy="1140375"/>
              </a:xfrm>
              <a:custGeom>
                <a:avLst/>
                <a:gdLst>
                  <a:gd name="csX0" fmla="*/ 600541 w 728001"/>
                  <a:gd name="csY0" fmla="*/ 926762 h 1140375"/>
                  <a:gd name="csX1" fmla="*/ 487778 w 728001"/>
                  <a:gd name="csY1" fmla="*/ 1096866 h 1140375"/>
                  <a:gd name="csX2" fmla="*/ 320316 w 728001"/>
                  <a:gd name="csY2" fmla="*/ 1140376 h 1140375"/>
                  <a:gd name="csX3" fmla="*/ 0 w 728001"/>
                  <a:gd name="csY3" fmla="*/ 1140272 h 1140375"/>
                  <a:gd name="csX4" fmla="*/ 199939 w 728001"/>
                  <a:gd name="csY4" fmla="*/ 0 h 1140375"/>
                  <a:gd name="csX5" fmla="*/ 523518 w 728001"/>
                  <a:gd name="csY5" fmla="*/ 259 h 1140375"/>
                  <a:gd name="csX6" fmla="*/ 617013 w 728001"/>
                  <a:gd name="csY6" fmla="*/ 21133 h 1140375"/>
                  <a:gd name="csX7" fmla="*/ 725114 w 728001"/>
                  <a:gd name="csY7" fmla="*/ 215426 h 1140375"/>
                  <a:gd name="csX8" fmla="*/ 600541 w 728001"/>
                  <a:gd name="csY8" fmla="*/ 926711 h 1140375"/>
                  <a:gd name="csX9" fmla="*/ 446081 w 728001"/>
                  <a:gd name="csY9" fmla="*/ 892990 h 1140375"/>
                  <a:gd name="csX10" fmla="*/ 560916 w 728001"/>
                  <a:gd name="csY10" fmla="*/ 240237 h 1140375"/>
                  <a:gd name="csX11" fmla="*/ 541596 w 728001"/>
                  <a:gd name="csY11" fmla="*/ 167617 h 1140375"/>
                  <a:gd name="csX12" fmla="*/ 334716 w 728001"/>
                  <a:gd name="csY12" fmla="*/ 140889 h 1140375"/>
                  <a:gd name="csX13" fmla="*/ 185539 w 728001"/>
                  <a:gd name="csY13" fmla="*/ 999901 h 1140375"/>
                  <a:gd name="csX14" fmla="*/ 446029 w 728001"/>
                  <a:gd name="csY14" fmla="*/ 892990 h 11403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</a:cxnLst>
                <a:rect l="l" t="t" r="r" b="b"/>
                <a:pathLst>
                  <a:path w="728001" h="1140375">
                    <a:moveTo>
                      <a:pt x="600541" y="926762"/>
                    </a:moveTo>
                    <a:cubicBezTo>
                      <a:pt x="587385" y="1001869"/>
                      <a:pt x="544755" y="1057759"/>
                      <a:pt x="487778" y="1096866"/>
                    </a:cubicBezTo>
                    <a:cubicBezTo>
                      <a:pt x="435825" y="1125458"/>
                      <a:pt x="380867" y="1140427"/>
                      <a:pt x="320316" y="1140376"/>
                    </a:cubicBezTo>
                    <a:lnTo>
                      <a:pt x="0" y="1140272"/>
                    </a:lnTo>
                    <a:lnTo>
                      <a:pt x="199939" y="0"/>
                    </a:lnTo>
                    <a:lnTo>
                      <a:pt x="523518" y="259"/>
                    </a:lnTo>
                    <a:cubicBezTo>
                      <a:pt x="556772" y="259"/>
                      <a:pt x="586090" y="10515"/>
                      <a:pt x="617013" y="21133"/>
                    </a:cubicBezTo>
                    <a:cubicBezTo>
                      <a:pt x="693673" y="51798"/>
                      <a:pt x="740395" y="128406"/>
                      <a:pt x="725114" y="215426"/>
                    </a:cubicBezTo>
                    <a:lnTo>
                      <a:pt x="600541" y="926711"/>
                    </a:lnTo>
                    <a:close/>
                    <a:moveTo>
                      <a:pt x="446081" y="892990"/>
                    </a:moveTo>
                    <a:lnTo>
                      <a:pt x="560916" y="240237"/>
                    </a:lnTo>
                    <a:cubicBezTo>
                      <a:pt x="565578" y="213665"/>
                      <a:pt x="555840" y="184451"/>
                      <a:pt x="541596" y="167617"/>
                    </a:cubicBezTo>
                    <a:cubicBezTo>
                      <a:pt x="507668" y="127474"/>
                      <a:pt x="392315" y="140579"/>
                      <a:pt x="334716" y="140889"/>
                    </a:cubicBezTo>
                    <a:lnTo>
                      <a:pt x="185539" y="999901"/>
                    </a:lnTo>
                    <a:cubicBezTo>
                      <a:pt x="283074" y="1002542"/>
                      <a:pt x="423290" y="1022070"/>
                      <a:pt x="446029" y="8929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ABE1E13B-5E95-4A10-64AD-C7F165A7EFE3}"/>
                  </a:ext>
                </a:extLst>
              </p:cNvPr>
              <p:cNvSpPr/>
              <p:nvPr/>
            </p:nvSpPr>
            <p:spPr>
              <a:xfrm>
                <a:off x="-2869996" y="5736415"/>
                <a:ext cx="685489" cy="1140738"/>
              </a:xfrm>
              <a:custGeom>
                <a:avLst/>
                <a:gdLst>
                  <a:gd name="csX0" fmla="*/ 527092 w 685489"/>
                  <a:gd name="csY0" fmla="*/ 632241 h 1140738"/>
                  <a:gd name="csX1" fmla="*/ 249405 w 685489"/>
                  <a:gd name="csY1" fmla="*/ 634624 h 1140738"/>
                  <a:gd name="csX2" fmla="*/ 185332 w 685489"/>
                  <a:gd name="csY2" fmla="*/ 1000729 h 1140738"/>
                  <a:gd name="csX3" fmla="*/ 514920 w 685489"/>
                  <a:gd name="csY3" fmla="*/ 1002180 h 1140738"/>
                  <a:gd name="csX4" fmla="*/ 489176 w 685489"/>
                  <a:gd name="csY4" fmla="*/ 1140738 h 1140738"/>
                  <a:gd name="csX5" fmla="*/ 0 w 685489"/>
                  <a:gd name="csY5" fmla="*/ 1140479 h 1140738"/>
                  <a:gd name="csX6" fmla="*/ 200197 w 685489"/>
                  <a:gd name="csY6" fmla="*/ 52 h 1140738"/>
                  <a:gd name="csX7" fmla="*/ 685489 w 685489"/>
                  <a:gd name="csY7" fmla="*/ 0 h 1140738"/>
                  <a:gd name="csX8" fmla="*/ 661507 w 685489"/>
                  <a:gd name="csY8" fmla="*/ 139594 h 1140738"/>
                  <a:gd name="csX9" fmla="*/ 335855 w 685489"/>
                  <a:gd name="csY9" fmla="*/ 139750 h 1140738"/>
                  <a:gd name="csX10" fmla="*/ 275304 w 685489"/>
                  <a:gd name="csY10" fmla="*/ 486120 h 1140738"/>
                  <a:gd name="csX11" fmla="*/ 548536 w 685489"/>
                  <a:gd name="csY11" fmla="*/ 489280 h 1140738"/>
                  <a:gd name="csX12" fmla="*/ 527092 w 685489"/>
                  <a:gd name="csY12" fmla="*/ 632241 h 11407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489" h="1140738">
                    <a:moveTo>
                      <a:pt x="527092" y="632241"/>
                    </a:moveTo>
                    <a:lnTo>
                      <a:pt x="249405" y="634624"/>
                    </a:lnTo>
                    <a:lnTo>
                      <a:pt x="185332" y="1000729"/>
                    </a:lnTo>
                    <a:lnTo>
                      <a:pt x="514920" y="1002180"/>
                    </a:lnTo>
                    <a:lnTo>
                      <a:pt x="489176" y="1140738"/>
                    </a:lnTo>
                    <a:lnTo>
                      <a:pt x="0" y="1140479"/>
                    </a:lnTo>
                    <a:lnTo>
                      <a:pt x="200197" y="52"/>
                    </a:lnTo>
                    <a:lnTo>
                      <a:pt x="685489" y="0"/>
                    </a:lnTo>
                    <a:lnTo>
                      <a:pt x="661507" y="139594"/>
                    </a:lnTo>
                    <a:lnTo>
                      <a:pt x="335855" y="139750"/>
                    </a:lnTo>
                    <a:lnTo>
                      <a:pt x="275304" y="486120"/>
                    </a:lnTo>
                    <a:lnTo>
                      <a:pt x="548536" y="489280"/>
                    </a:lnTo>
                    <a:lnTo>
                      <a:pt x="527092" y="63224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2">
              <a:extLst>
                <a:ext uri="{FF2B5EF4-FFF2-40B4-BE49-F238E27FC236}">
                  <a16:creationId xmlns:a16="http://schemas.microsoft.com/office/drawing/2014/main" id="{7A30E687-8CD1-B6A6-32BB-F0A9242359E6}"/>
                </a:ext>
              </a:extLst>
            </p:cNvPr>
            <p:cNvGrpSpPr/>
            <p:nvPr/>
          </p:nvGrpSpPr>
          <p:grpSpPr>
            <a:xfrm>
              <a:off x="2730942" y="1047583"/>
              <a:ext cx="1671340" cy="600920"/>
              <a:chOff x="-7247048" y="5668094"/>
              <a:chExt cx="3401263" cy="1222904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EAA6DA87-28A1-72A9-DA1B-ECCD38B12243}"/>
                  </a:ext>
                </a:extLst>
              </p:cNvPr>
              <p:cNvSpPr/>
              <p:nvPr/>
            </p:nvSpPr>
            <p:spPr>
              <a:xfrm>
                <a:off x="-7247048" y="5668094"/>
                <a:ext cx="955043" cy="1209411"/>
              </a:xfrm>
              <a:custGeom>
                <a:avLst/>
                <a:gdLst>
                  <a:gd name="csX0" fmla="*/ 930751 w 955043"/>
                  <a:gd name="csY0" fmla="*/ 1207764 h 1209411"/>
                  <a:gd name="csX1" fmla="*/ 591528 w 955043"/>
                  <a:gd name="csY1" fmla="*/ 1059312 h 1209411"/>
                  <a:gd name="csX2" fmla="*/ 171709 w 955043"/>
                  <a:gd name="csY2" fmla="*/ 1135092 h 1209411"/>
                  <a:gd name="csX3" fmla="*/ 143117 w 955043"/>
                  <a:gd name="csY3" fmla="*/ 1123749 h 1209411"/>
                  <a:gd name="csX4" fmla="*/ 0 w 955043"/>
                  <a:gd name="csY4" fmla="*/ 933392 h 1209411"/>
                  <a:gd name="csX5" fmla="*/ 800221 w 955043"/>
                  <a:gd name="csY5" fmla="*/ 0 h 1209411"/>
                  <a:gd name="csX6" fmla="*/ 955044 w 955043"/>
                  <a:gd name="csY6" fmla="*/ 199731 h 1209411"/>
                  <a:gd name="csX7" fmla="*/ 955044 w 955043"/>
                  <a:gd name="csY7" fmla="*/ 1194660 h 1209411"/>
                  <a:gd name="csX8" fmla="*/ 948621 w 955043"/>
                  <a:gd name="csY8" fmla="*/ 1207246 h 1209411"/>
                  <a:gd name="csX9" fmla="*/ 930751 w 955043"/>
                  <a:gd name="csY9" fmla="*/ 1207816 h 120941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955043" h="1209411">
                    <a:moveTo>
                      <a:pt x="930751" y="1207764"/>
                    </a:moveTo>
                    <a:lnTo>
                      <a:pt x="591528" y="1059312"/>
                    </a:lnTo>
                    <a:lnTo>
                      <a:pt x="171709" y="1135092"/>
                    </a:lnTo>
                    <a:cubicBezTo>
                      <a:pt x="160624" y="1137112"/>
                      <a:pt x="149850" y="1132710"/>
                      <a:pt x="143117" y="1123749"/>
                    </a:cubicBezTo>
                    <a:lnTo>
                      <a:pt x="0" y="933392"/>
                    </a:lnTo>
                    <a:lnTo>
                      <a:pt x="800221" y="0"/>
                    </a:lnTo>
                    <a:lnTo>
                      <a:pt x="955044" y="199731"/>
                    </a:lnTo>
                    <a:lnTo>
                      <a:pt x="955044" y="1194660"/>
                    </a:lnTo>
                    <a:cubicBezTo>
                      <a:pt x="955044" y="1202222"/>
                      <a:pt x="951263" y="1206987"/>
                      <a:pt x="948621" y="1207246"/>
                    </a:cubicBezTo>
                    <a:cubicBezTo>
                      <a:pt x="945979" y="1207505"/>
                      <a:pt x="939401" y="1211597"/>
                      <a:pt x="930751" y="1207816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2179AEFA-4920-5879-0933-89744767E3BF}"/>
                  </a:ext>
                </a:extLst>
              </p:cNvPr>
              <p:cNvSpPr/>
              <p:nvPr/>
            </p:nvSpPr>
            <p:spPr>
              <a:xfrm>
                <a:off x="-5703894" y="5736777"/>
                <a:ext cx="1077752" cy="1140530"/>
              </a:xfrm>
              <a:custGeom>
                <a:avLst/>
                <a:gdLst>
                  <a:gd name="csX0" fmla="*/ 1069050 w 1077752"/>
                  <a:gd name="csY0" fmla="*/ 875742 h 1140530"/>
                  <a:gd name="csX1" fmla="*/ 1077752 w 1077752"/>
                  <a:gd name="csY1" fmla="*/ 1137993 h 1140530"/>
                  <a:gd name="csX2" fmla="*/ 920598 w 1077752"/>
                  <a:gd name="csY2" fmla="*/ 1139961 h 1140530"/>
                  <a:gd name="csX3" fmla="*/ 915315 w 1077752"/>
                  <a:gd name="csY3" fmla="*/ 1087749 h 1140530"/>
                  <a:gd name="csX4" fmla="*/ 913968 w 1077752"/>
                  <a:gd name="csY4" fmla="*/ 874706 h 1140530"/>
                  <a:gd name="csX5" fmla="*/ 677409 w 1077752"/>
                  <a:gd name="csY5" fmla="*/ 875379 h 1140530"/>
                  <a:gd name="csX6" fmla="*/ 582412 w 1077752"/>
                  <a:gd name="csY6" fmla="*/ 1140531 h 1140530"/>
                  <a:gd name="csX7" fmla="*/ 0 w 1077752"/>
                  <a:gd name="csY7" fmla="*/ 1140065 h 1140530"/>
                  <a:gd name="csX8" fmla="*/ 199835 w 1077752"/>
                  <a:gd name="csY8" fmla="*/ 622 h 1140530"/>
                  <a:gd name="csX9" fmla="*/ 359682 w 1077752"/>
                  <a:gd name="csY9" fmla="*/ 932 h 1140530"/>
                  <a:gd name="csX10" fmla="*/ 185125 w 1077752"/>
                  <a:gd name="csY10" fmla="*/ 993944 h 1140530"/>
                  <a:gd name="csX11" fmla="*/ 478454 w 1077752"/>
                  <a:gd name="csY11" fmla="*/ 995032 h 1140530"/>
                  <a:gd name="csX12" fmla="*/ 851034 w 1077752"/>
                  <a:gd name="csY12" fmla="*/ 0 h 1140530"/>
                  <a:gd name="csX13" fmla="*/ 1045949 w 1077752"/>
                  <a:gd name="csY13" fmla="*/ 0 h 1140530"/>
                  <a:gd name="csX14" fmla="*/ 1055531 w 1077752"/>
                  <a:gd name="csY14" fmla="*/ 336529 h 1140530"/>
                  <a:gd name="csX15" fmla="*/ 1062679 w 1077752"/>
                  <a:gd name="csY15" fmla="*/ 625197 h 1140530"/>
                  <a:gd name="csX16" fmla="*/ 1069102 w 1077752"/>
                  <a:gd name="csY16" fmla="*/ 875794 h 1140530"/>
                  <a:gd name="csX17" fmla="*/ 915211 w 1077752"/>
                  <a:gd name="csY17" fmla="*/ 737235 h 1140530"/>
                  <a:gd name="csX18" fmla="*/ 913088 w 1077752"/>
                  <a:gd name="csY18" fmla="*/ 416504 h 1140530"/>
                  <a:gd name="csX19" fmla="*/ 910032 w 1077752"/>
                  <a:gd name="csY19" fmla="*/ 225112 h 1140530"/>
                  <a:gd name="csX20" fmla="*/ 726979 w 1077752"/>
                  <a:gd name="csY20" fmla="*/ 735940 h 1140530"/>
                  <a:gd name="csX21" fmla="*/ 915211 w 1077752"/>
                  <a:gd name="csY21" fmla="*/ 737183 h 11405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1077752" h="1140530">
                    <a:moveTo>
                      <a:pt x="1069050" y="875742"/>
                    </a:moveTo>
                    <a:cubicBezTo>
                      <a:pt x="1071381" y="966180"/>
                      <a:pt x="1068273" y="1049212"/>
                      <a:pt x="1077752" y="1137993"/>
                    </a:cubicBezTo>
                    <a:lnTo>
                      <a:pt x="920598" y="1139961"/>
                    </a:lnTo>
                    <a:cubicBezTo>
                      <a:pt x="917853" y="1120175"/>
                      <a:pt x="915419" y="1105050"/>
                      <a:pt x="915315" y="1087749"/>
                    </a:cubicBezTo>
                    <a:lnTo>
                      <a:pt x="913968" y="874706"/>
                    </a:lnTo>
                    <a:lnTo>
                      <a:pt x="677409" y="875379"/>
                    </a:lnTo>
                    <a:lnTo>
                      <a:pt x="582412" y="1140531"/>
                    </a:lnTo>
                    <a:lnTo>
                      <a:pt x="0" y="1140065"/>
                    </a:lnTo>
                    <a:lnTo>
                      <a:pt x="199835" y="622"/>
                    </a:lnTo>
                    <a:lnTo>
                      <a:pt x="359682" y="932"/>
                    </a:lnTo>
                    <a:lnTo>
                      <a:pt x="185125" y="993944"/>
                    </a:lnTo>
                    <a:lnTo>
                      <a:pt x="478454" y="995032"/>
                    </a:lnTo>
                    <a:lnTo>
                      <a:pt x="851034" y="0"/>
                    </a:lnTo>
                    <a:lnTo>
                      <a:pt x="1045949" y="0"/>
                    </a:lnTo>
                    <a:cubicBezTo>
                      <a:pt x="1045949" y="0"/>
                      <a:pt x="1055531" y="336529"/>
                      <a:pt x="1055531" y="336529"/>
                    </a:cubicBezTo>
                    <a:lnTo>
                      <a:pt x="1062679" y="625197"/>
                    </a:lnTo>
                    <a:lnTo>
                      <a:pt x="1069102" y="875794"/>
                    </a:lnTo>
                    <a:close/>
                    <a:moveTo>
                      <a:pt x="915211" y="737235"/>
                    </a:moveTo>
                    <a:lnTo>
                      <a:pt x="913088" y="416504"/>
                    </a:lnTo>
                    <a:lnTo>
                      <a:pt x="910032" y="225112"/>
                    </a:lnTo>
                    <a:lnTo>
                      <a:pt x="726979" y="735940"/>
                    </a:lnTo>
                    <a:lnTo>
                      <a:pt x="915211" y="737183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114E80A5-8175-3D73-4185-44FC96726DA5}"/>
                  </a:ext>
                </a:extLst>
              </p:cNvPr>
              <p:cNvSpPr/>
              <p:nvPr/>
            </p:nvSpPr>
            <p:spPr>
              <a:xfrm>
                <a:off x="-4529567" y="5721640"/>
                <a:ext cx="683782" cy="1169358"/>
              </a:xfrm>
              <a:custGeom>
                <a:avLst/>
                <a:gdLst>
                  <a:gd name="csX0" fmla="*/ 549030 w 683782"/>
                  <a:gd name="csY0" fmla="*/ 971476 h 1169358"/>
                  <a:gd name="csX1" fmla="*/ 353753 w 683782"/>
                  <a:gd name="csY1" fmla="*/ 1159760 h 1169358"/>
                  <a:gd name="csX2" fmla="*/ 140710 w 683782"/>
                  <a:gd name="csY2" fmla="*/ 1158828 h 1169358"/>
                  <a:gd name="csX3" fmla="*/ 1167 w 683782"/>
                  <a:gd name="csY3" fmla="*/ 969456 h 1169358"/>
                  <a:gd name="csX4" fmla="*/ 40792 w 683782"/>
                  <a:gd name="csY4" fmla="*/ 734450 h 1169358"/>
                  <a:gd name="csX5" fmla="*/ 197014 w 683782"/>
                  <a:gd name="csY5" fmla="*/ 735124 h 1169358"/>
                  <a:gd name="csX6" fmla="*/ 163967 w 683782"/>
                  <a:gd name="csY6" fmla="*/ 937756 h 1169358"/>
                  <a:gd name="csX7" fmla="*/ 238970 w 683782"/>
                  <a:gd name="csY7" fmla="*/ 1028712 h 1169358"/>
                  <a:gd name="csX8" fmla="*/ 403842 w 683782"/>
                  <a:gd name="csY8" fmla="*/ 918487 h 1169358"/>
                  <a:gd name="csX9" fmla="*/ 424820 w 683782"/>
                  <a:gd name="csY9" fmla="*/ 806294 h 1169358"/>
                  <a:gd name="csX10" fmla="*/ 374369 w 683782"/>
                  <a:gd name="csY10" fmla="*/ 688765 h 1169358"/>
                  <a:gd name="csX11" fmla="*/ 196859 w 683782"/>
                  <a:gd name="csY11" fmla="*/ 576675 h 1169358"/>
                  <a:gd name="csX12" fmla="*/ 101033 w 683782"/>
                  <a:gd name="csY12" fmla="*/ 412373 h 1169358"/>
                  <a:gd name="csX13" fmla="*/ 134909 w 683782"/>
                  <a:gd name="csY13" fmla="*/ 206270 h 1169358"/>
                  <a:gd name="csX14" fmla="*/ 318376 w 683782"/>
                  <a:gd name="csY14" fmla="*/ 15604 h 1169358"/>
                  <a:gd name="csX15" fmla="*/ 549237 w 683782"/>
                  <a:gd name="csY15" fmla="*/ 14827 h 1169358"/>
                  <a:gd name="csX16" fmla="*/ 681684 w 683782"/>
                  <a:gd name="csY16" fmla="*/ 202696 h 1169358"/>
                  <a:gd name="csX17" fmla="*/ 646203 w 683782"/>
                  <a:gd name="csY17" fmla="*/ 419003 h 1169358"/>
                  <a:gd name="csX18" fmla="*/ 489774 w 683782"/>
                  <a:gd name="csY18" fmla="*/ 419884 h 1169358"/>
                  <a:gd name="csX19" fmla="*/ 520438 w 683782"/>
                  <a:gd name="csY19" fmla="*/ 235432 h 1169358"/>
                  <a:gd name="csX20" fmla="*/ 498372 w 683782"/>
                  <a:gd name="csY20" fmla="*/ 164314 h 1169358"/>
                  <a:gd name="csX21" fmla="*/ 424302 w 683782"/>
                  <a:gd name="csY21" fmla="*/ 140695 h 1169358"/>
                  <a:gd name="csX22" fmla="*/ 288437 w 683782"/>
                  <a:gd name="csY22" fmla="*/ 232584 h 1169358"/>
                  <a:gd name="csX23" fmla="*/ 263937 w 683782"/>
                  <a:gd name="csY23" fmla="*/ 367516 h 1169358"/>
                  <a:gd name="csX24" fmla="*/ 311694 w 683782"/>
                  <a:gd name="csY24" fmla="*/ 462409 h 1169358"/>
                  <a:gd name="csX25" fmla="*/ 483092 w 683782"/>
                  <a:gd name="csY25" fmla="*/ 567610 h 1169358"/>
                  <a:gd name="csX26" fmla="*/ 589639 w 683782"/>
                  <a:gd name="csY26" fmla="*/ 755377 h 1169358"/>
                  <a:gd name="csX27" fmla="*/ 549030 w 683782"/>
                  <a:gd name="csY27" fmla="*/ 971528 h 116935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</a:cxnLst>
                <a:rect l="l" t="t" r="r" b="b"/>
                <a:pathLst>
                  <a:path w="683782" h="1169358">
                    <a:moveTo>
                      <a:pt x="549030" y="971476"/>
                    </a:moveTo>
                    <a:cubicBezTo>
                      <a:pt x="526757" y="1072119"/>
                      <a:pt x="452635" y="1143030"/>
                      <a:pt x="353753" y="1159760"/>
                    </a:cubicBezTo>
                    <a:cubicBezTo>
                      <a:pt x="282584" y="1171829"/>
                      <a:pt x="210274" y="1173590"/>
                      <a:pt x="140710" y="1158828"/>
                    </a:cubicBezTo>
                    <a:cubicBezTo>
                      <a:pt x="48510" y="1139300"/>
                      <a:pt x="-9037" y="1064142"/>
                      <a:pt x="1167" y="969456"/>
                    </a:cubicBezTo>
                    <a:cubicBezTo>
                      <a:pt x="9766" y="889791"/>
                      <a:pt x="26703" y="813131"/>
                      <a:pt x="40792" y="734450"/>
                    </a:cubicBezTo>
                    <a:lnTo>
                      <a:pt x="197014" y="735124"/>
                    </a:lnTo>
                    <a:lnTo>
                      <a:pt x="163967" y="937756"/>
                    </a:lnTo>
                    <a:cubicBezTo>
                      <a:pt x="155679" y="988569"/>
                      <a:pt x="193233" y="1022186"/>
                      <a:pt x="238970" y="1028712"/>
                    </a:cubicBezTo>
                    <a:cubicBezTo>
                      <a:pt x="318583" y="1040108"/>
                      <a:pt x="388820" y="998670"/>
                      <a:pt x="403842" y="918487"/>
                    </a:cubicBezTo>
                    <a:lnTo>
                      <a:pt x="424820" y="806294"/>
                    </a:lnTo>
                    <a:cubicBezTo>
                      <a:pt x="434143" y="756413"/>
                      <a:pt x="416169" y="715130"/>
                      <a:pt x="374369" y="688765"/>
                    </a:cubicBezTo>
                    <a:lnTo>
                      <a:pt x="196859" y="576675"/>
                    </a:lnTo>
                    <a:cubicBezTo>
                      <a:pt x="141642" y="541815"/>
                      <a:pt x="95801" y="481575"/>
                      <a:pt x="101033" y="412373"/>
                    </a:cubicBezTo>
                    <a:cubicBezTo>
                      <a:pt x="106368" y="341721"/>
                      <a:pt x="120198" y="274229"/>
                      <a:pt x="134909" y="206270"/>
                    </a:cubicBezTo>
                    <a:cubicBezTo>
                      <a:pt x="155421" y="111274"/>
                      <a:pt x="224933" y="39327"/>
                      <a:pt x="318376" y="15604"/>
                    </a:cubicBezTo>
                    <a:cubicBezTo>
                      <a:pt x="394674" y="-3769"/>
                      <a:pt x="474235" y="-6307"/>
                      <a:pt x="549237" y="14827"/>
                    </a:cubicBezTo>
                    <a:cubicBezTo>
                      <a:pt x="634703" y="38861"/>
                      <a:pt x="696084" y="115055"/>
                      <a:pt x="681684" y="202696"/>
                    </a:cubicBezTo>
                    <a:lnTo>
                      <a:pt x="646203" y="419003"/>
                    </a:lnTo>
                    <a:lnTo>
                      <a:pt x="489774" y="419884"/>
                    </a:lnTo>
                    <a:lnTo>
                      <a:pt x="520438" y="235432"/>
                    </a:lnTo>
                    <a:cubicBezTo>
                      <a:pt x="525048" y="207876"/>
                      <a:pt x="515310" y="181977"/>
                      <a:pt x="498372" y="164314"/>
                    </a:cubicBezTo>
                    <a:cubicBezTo>
                      <a:pt x="479984" y="145097"/>
                      <a:pt x="452946" y="141990"/>
                      <a:pt x="424302" y="140695"/>
                    </a:cubicBezTo>
                    <a:cubicBezTo>
                      <a:pt x="360124" y="137742"/>
                      <a:pt x="304390" y="168769"/>
                      <a:pt x="288437" y="232584"/>
                    </a:cubicBezTo>
                    <a:cubicBezTo>
                      <a:pt x="277507" y="276353"/>
                      <a:pt x="268857" y="321831"/>
                      <a:pt x="263937" y="367516"/>
                    </a:cubicBezTo>
                    <a:cubicBezTo>
                      <a:pt x="259534" y="408799"/>
                      <a:pt x="277870" y="441639"/>
                      <a:pt x="311694" y="462409"/>
                    </a:cubicBezTo>
                    <a:lnTo>
                      <a:pt x="483092" y="567610"/>
                    </a:lnTo>
                    <a:cubicBezTo>
                      <a:pt x="552708" y="610343"/>
                      <a:pt x="601398" y="668357"/>
                      <a:pt x="589639" y="755377"/>
                    </a:cubicBezTo>
                    <a:cubicBezTo>
                      <a:pt x="579850" y="828152"/>
                      <a:pt x="565502" y="896888"/>
                      <a:pt x="549030" y="971528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793CFABB-8B43-7734-765E-59F7A4D640FB}"/>
                  </a:ext>
                </a:extLst>
              </p:cNvPr>
              <p:cNvSpPr/>
              <p:nvPr/>
            </p:nvSpPr>
            <p:spPr>
              <a:xfrm>
                <a:off x="-6187994" y="5736363"/>
                <a:ext cx="578060" cy="1141590"/>
              </a:xfrm>
              <a:custGeom>
                <a:avLst/>
                <a:gdLst>
                  <a:gd name="csX0" fmla="*/ 181343 w 578060"/>
                  <a:gd name="csY0" fmla="*/ 1138252 h 1141590"/>
                  <a:gd name="csX1" fmla="*/ 21859 w 578060"/>
                  <a:gd name="csY1" fmla="*/ 1139909 h 1141590"/>
                  <a:gd name="csX2" fmla="*/ 197763 w 578060"/>
                  <a:gd name="csY2" fmla="*/ 140579 h 1141590"/>
                  <a:gd name="csX3" fmla="*/ 0 w 578060"/>
                  <a:gd name="csY3" fmla="*/ 138507 h 1141590"/>
                  <a:gd name="csX4" fmla="*/ 24345 w 578060"/>
                  <a:gd name="csY4" fmla="*/ 0 h 1141590"/>
                  <a:gd name="csX5" fmla="*/ 578061 w 578060"/>
                  <a:gd name="csY5" fmla="*/ 0 h 1141590"/>
                  <a:gd name="csX6" fmla="*/ 555270 w 578060"/>
                  <a:gd name="csY6" fmla="*/ 138248 h 1141590"/>
                  <a:gd name="csX7" fmla="*/ 358128 w 578060"/>
                  <a:gd name="csY7" fmla="*/ 140371 h 1141590"/>
                  <a:gd name="csX8" fmla="*/ 181343 w 578060"/>
                  <a:gd name="csY8" fmla="*/ 1138252 h 11415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578060" h="1141590">
                    <a:moveTo>
                      <a:pt x="181343" y="1138252"/>
                    </a:moveTo>
                    <a:cubicBezTo>
                      <a:pt x="127215" y="1144105"/>
                      <a:pt x="79975" y="1140635"/>
                      <a:pt x="21859" y="1139909"/>
                    </a:cubicBezTo>
                    <a:lnTo>
                      <a:pt x="197763" y="140579"/>
                    </a:lnTo>
                    <a:lnTo>
                      <a:pt x="0" y="138507"/>
                    </a:lnTo>
                    <a:lnTo>
                      <a:pt x="24345" y="0"/>
                    </a:lnTo>
                    <a:lnTo>
                      <a:pt x="578061" y="0"/>
                    </a:lnTo>
                    <a:cubicBezTo>
                      <a:pt x="572985" y="47757"/>
                      <a:pt x="565060" y="92096"/>
                      <a:pt x="555270" y="138248"/>
                    </a:cubicBezTo>
                    <a:lnTo>
                      <a:pt x="358128" y="140371"/>
                    </a:lnTo>
                    <a:lnTo>
                      <a:pt x="181343" y="1138252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6" name="Graphic 2">
              <a:extLst>
                <a:ext uri="{FF2B5EF4-FFF2-40B4-BE49-F238E27FC236}">
                  <a16:creationId xmlns:a16="http://schemas.microsoft.com/office/drawing/2014/main" id="{D83C2FC9-19C4-C503-F9EE-64BA356ABF7A}"/>
                </a:ext>
              </a:extLst>
            </p:cNvPr>
            <p:cNvGrpSpPr/>
            <p:nvPr/>
          </p:nvGrpSpPr>
          <p:grpSpPr>
            <a:xfrm>
              <a:off x="2746341" y="2473631"/>
              <a:ext cx="1238309" cy="570840"/>
              <a:chOff x="-7215710" y="8570176"/>
              <a:chExt cx="2520023" cy="1161690"/>
            </a:xfrm>
            <a:grpFill/>
          </p:grpSpPr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D159CC43-79D2-BE56-02EE-B013985E123E}"/>
                  </a:ext>
                </a:extLst>
              </p:cNvPr>
              <p:cNvSpPr/>
              <p:nvPr/>
            </p:nvSpPr>
            <p:spPr>
              <a:xfrm>
                <a:off x="-6565194" y="8570176"/>
                <a:ext cx="642572" cy="1161690"/>
              </a:xfrm>
              <a:custGeom>
                <a:avLst/>
                <a:gdLst>
                  <a:gd name="csX0" fmla="*/ 310071 w 642572"/>
                  <a:gd name="csY0" fmla="*/ 1153927 h 1161690"/>
                  <a:gd name="csX1" fmla="*/ 141573 w 642572"/>
                  <a:gd name="csY1" fmla="*/ 1153409 h 1161690"/>
                  <a:gd name="csX2" fmla="*/ 2393 w 642572"/>
                  <a:gd name="csY2" fmla="*/ 961343 h 1161690"/>
                  <a:gd name="csX3" fmla="*/ 134684 w 642572"/>
                  <a:gd name="csY3" fmla="*/ 205306 h 1161690"/>
                  <a:gd name="csX4" fmla="*/ 264333 w 642572"/>
                  <a:gd name="csY4" fmla="*/ 31991 h 1161690"/>
                  <a:gd name="csX5" fmla="*/ 512340 w 642572"/>
                  <a:gd name="csY5" fmla="*/ 12722 h 1161690"/>
                  <a:gd name="csX6" fmla="*/ 639866 w 642572"/>
                  <a:gd name="csY6" fmla="*/ 209605 h 1161690"/>
                  <a:gd name="csX7" fmla="*/ 506798 w 642572"/>
                  <a:gd name="csY7" fmla="*/ 961550 h 1161690"/>
                  <a:gd name="csX8" fmla="*/ 310071 w 642572"/>
                  <a:gd name="csY8" fmla="*/ 1153927 h 1161690"/>
                  <a:gd name="csX9" fmla="*/ 352959 w 642572"/>
                  <a:gd name="csY9" fmla="*/ 1039040 h 1161690"/>
                  <a:gd name="csX10" fmla="*/ 420658 w 642572"/>
                  <a:gd name="csY10" fmla="*/ 921097 h 1161690"/>
                  <a:gd name="csX11" fmla="*/ 543522 w 642572"/>
                  <a:gd name="csY11" fmla="*/ 222244 h 1161690"/>
                  <a:gd name="csX12" fmla="*/ 490533 w 642572"/>
                  <a:gd name="csY12" fmla="*/ 105595 h 1161690"/>
                  <a:gd name="csX13" fmla="*/ 311314 w 642572"/>
                  <a:gd name="csY13" fmla="*/ 109739 h 1161690"/>
                  <a:gd name="csX14" fmla="*/ 224708 w 642572"/>
                  <a:gd name="csY14" fmla="*/ 230169 h 1161690"/>
                  <a:gd name="csX15" fmla="*/ 104797 w 642572"/>
                  <a:gd name="csY15" fmla="*/ 895405 h 1161690"/>
                  <a:gd name="csX16" fmla="*/ 164001 w 642572"/>
                  <a:gd name="csY16" fmla="*/ 1063592 h 1161690"/>
                  <a:gd name="csX17" fmla="*/ 352959 w 642572"/>
                  <a:gd name="csY17" fmla="*/ 1039040 h 116169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642572" h="1161690">
                    <a:moveTo>
                      <a:pt x="310071" y="1153927"/>
                    </a:moveTo>
                    <a:cubicBezTo>
                      <a:pt x="249312" y="1164027"/>
                      <a:pt x="198395" y="1164701"/>
                      <a:pt x="141573" y="1153409"/>
                    </a:cubicBezTo>
                    <a:cubicBezTo>
                      <a:pt x="56884" y="1136575"/>
                      <a:pt x="-14079" y="1055511"/>
                      <a:pt x="2393" y="961343"/>
                    </a:cubicBezTo>
                    <a:lnTo>
                      <a:pt x="134684" y="205306"/>
                    </a:lnTo>
                    <a:cubicBezTo>
                      <a:pt x="147996" y="129215"/>
                      <a:pt x="198343" y="62552"/>
                      <a:pt x="264333" y="31991"/>
                    </a:cubicBezTo>
                    <a:cubicBezTo>
                      <a:pt x="343376" y="-4578"/>
                      <a:pt x="428635" y="-8049"/>
                      <a:pt x="512340" y="12722"/>
                    </a:cubicBezTo>
                    <a:cubicBezTo>
                      <a:pt x="596045" y="33493"/>
                      <a:pt x="656286" y="116991"/>
                      <a:pt x="639866" y="209605"/>
                    </a:cubicBezTo>
                    <a:lnTo>
                      <a:pt x="506798" y="961550"/>
                    </a:lnTo>
                    <a:cubicBezTo>
                      <a:pt x="488772" y="1063385"/>
                      <a:pt x="409056" y="1137507"/>
                      <a:pt x="310071" y="1153927"/>
                    </a:cubicBezTo>
                    <a:close/>
                    <a:moveTo>
                      <a:pt x="352959" y="1039040"/>
                    </a:moveTo>
                    <a:cubicBezTo>
                      <a:pt x="390409" y="1011173"/>
                      <a:pt x="412733" y="966316"/>
                      <a:pt x="420658" y="921097"/>
                    </a:cubicBezTo>
                    <a:lnTo>
                      <a:pt x="543522" y="222244"/>
                    </a:lnTo>
                    <a:cubicBezTo>
                      <a:pt x="551654" y="175885"/>
                      <a:pt x="528760" y="122637"/>
                      <a:pt x="490533" y="105595"/>
                    </a:cubicBezTo>
                    <a:cubicBezTo>
                      <a:pt x="433297" y="80059"/>
                      <a:pt x="366996" y="82856"/>
                      <a:pt x="311314" y="109739"/>
                    </a:cubicBezTo>
                    <a:cubicBezTo>
                      <a:pt x="265628" y="131805"/>
                      <a:pt x="234083" y="178216"/>
                      <a:pt x="224708" y="230169"/>
                    </a:cubicBezTo>
                    <a:lnTo>
                      <a:pt x="104797" y="895405"/>
                    </a:lnTo>
                    <a:cubicBezTo>
                      <a:pt x="93919" y="955594"/>
                      <a:pt x="93246" y="1042096"/>
                      <a:pt x="164001" y="1063592"/>
                    </a:cubicBezTo>
                    <a:cubicBezTo>
                      <a:pt x="225174" y="1082187"/>
                      <a:pt x="297691" y="1080219"/>
                      <a:pt x="352959" y="103904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FBC01A2F-05D6-4950-5D28-E8E36CFC6B35}"/>
                  </a:ext>
                </a:extLst>
              </p:cNvPr>
              <p:cNvSpPr/>
              <p:nvPr/>
            </p:nvSpPr>
            <p:spPr>
              <a:xfrm>
                <a:off x="-5298729" y="8572369"/>
                <a:ext cx="603042" cy="1146438"/>
              </a:xfrm>
              <a:custGeom>
                <a:avLst/>
                <a:gdLst>
                  <a:gd name="csX0" fmla="*/ 164298 w 603042"/>
                  <a:gd name="csY0" fmla="*/ 524206 h 1146438"/>
                  <a:gd name="csX1" fmla="*/ 428206 w 603042"/>
                  <a:gd name="csY1" fmla="*/ 475464 h 1146438"/>
                  <a:gd name="csX2" fmla="*/ 531543 w 603042"/>
                  <a:gd name="csY2" fmla="*/ 643807 h 1146438"/>
                  <a:gd name="csX3" fmla="*/ 475757 w 603042"/>
                  <a:gd name="csY3" fmla="*/ 964019 h 1146438"/>
                  <a:gd name="csX4" fmla="*/ 294206 w 603042"/>
                  <a:gd name="csY4" fmla="*/ 1139458 h 1146438"/>
                  <a:gd name="csX5" fmla="*/ 19834 w 603042"/>
                  <a:gd name="csY5" fmla="*/ 1061451 h 1146438"/>
                  <a:gd name="csX6" fmla="*/ 3518 w 603042"/>
                  <a:gd name="csY6" fmla="*/ 935220 h 1146438"/>
                  <a:gd name="csX7" fmla="*/ 128195 w 603042"/>
                  <a:gd name="csY7" fmla="*/ 219481 h 1146438"/>
                  <a:gd name="csX8" fmla="*/ 285504 w 603042"/>
                  <a:gd name="csY8" fmla="*/ 14207 h 1146438"/>
                  <a:gd name="csX9" fmla="*/ 481972 w 603042"/>
                  <a:gd name="csY9" fmla="*/ 8458 h 1146438"/>
                  <a:gd name="csX10" fmla="*/ 602350 w 603042"/>
                  <a:gd name="csY10" fmla="*/ 181047 h 1146438"/>
                  <a:gd name="csX11" fmla="*/ 578523 w 603042"/>
                  <a:gd name="csY11" fmla="*/ 335559 h 1146438"/>
                  <a:gd name="csX12" fmla="*/ 492073 w 603042"/>
                  <a:gd name="csY12" fmla="*/ 335352 h 1146438"/>
                  <a:gd name="csX13" fmla="*/ 474669 w 603042"/>
                  <a:gd name="csY13" fmla="*/ 98482 h 1146438"/>
                  <a:gd name="csX14" fmla="*/ 279496 w 603042"/>
                  <a:gd name="csY14" fmla="*/ 109152 h 1146438"/>
                  <a:gd name="csX15" fmla="*/ 216613 w 603042"/>
                  <a:gd name="csY15" fmla="*/ 224661 h 1146438"/>
                  <a:gd name="csX16" fmla="*/ 164246 w 603042"/>
                  <a:gd name="csY16" fmla="*/ 524103 h 1146438"/>
                  <a:gd name="csX17" fmla="*/ 317360 w 603042"/>
                  <a:gd name="csY17" fmla="*/ 1045963 h 1146438"/>
                  <a:gd name="csX18" fmla="*/ 391948 w 603042"/>
                  <a:gd name="csY18" fmla="*/ 939882 h 1146438"/>
                  <a:gd name="csX19" fmla="*/ 442554 w 603042"/>
                  <a:gd name="csY19" fmla="*/ 661729 h 1146438"/>
                  <a:gd name="csX20" fmla="*/ 388478 w 603042"/>
                  <a:gd name="csY20" fmla="*/ 555492 h 1146438"/>
                  <a:gd name="csX21" fmla="*/ 140523 w 603042"/>
                  <a:gd name="csY21" fmla="*/ 662247 h 1146438"/>
                  <a:gd name="csX22" fmla="*/ 91781 w 603042"/>
                  <a:gd name="csY22" fmla="*/ 947859 h 1146438"/>
                  <a:gd name="csX23" fmla="*/ 134566 w 603042"/>
                  <a:gd name="csY23" fmla="*/ 1049330 h 1146438"/>
                  <a:gd name="csX24" fmla="*/ 317360 w 603042"/>
                  <a:gd name="csY24" fmla="*/ 1046015 h 11464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603042" h="1146438">
                    <a:moveTo>
                      <a:pt x="164298" y="524206"/>
                    </a:moveTo>
                    <a:cubicBezTo>
                      <a:pt x="233499" y="458268"/>
                      <a:pt x="347247" y="445888"/>
                      <a:pt x="428206" y="475464"/>
                    </a:cubicBezTo>
                    <a:cubicBezTo>
                      <a:pt x="498548" y="501104"/>
                      <a:pt x="542524" y="566836"/>
                      <a:pt x="531543" y="643807"/>
                    </a:cubicBezTo>
                    <a:cubicBezTo>
                      <a:pt x="516159" y="751960"/>
                      <a:pt x="498599" y="857938"/>
                      <a:pt x="475757" y="964019"/>
                    </a:cubicBezTo>
                    <a:cubicBezTo>
                      <a:pt x="455297" y="1059016"/>
                      <a:pt x="389203" y="1125472"/>
                      <a:pt x="294206" y="1139458"/>
                    </a:cubicBezTo>
                    <a:cubicBezTo>
                      <a:pt x="204182" y="1152770"/>
                      <a:pt x="68006" y="1156448"/>
                      <a:pt x="19834" y="1061451"/>
                    </a:cubicBezTo>
                    <a:cubicBezTo>
                      <a:pt x="462" y="1023276"/>
                      <a:pt x="-4148" y="979144"/>
                      <a:pt x="3518" y="935220"/>
                    </a:cubicBezTo>
                    <a:lnTo>
                      <a:pt x="128195" y="219481"/>
                    </a:lnTo>
                    <a:cubicBezTo>
                      <a:pt x="144667" y="125002"/>
                      <a:pt x="188125" y="40313"/>
                      <a:pt x="285504" y="14207"/>
                    </a:cubicBezTo>
                    <a:cubicBezTo>
                      <a:pt x="349112" y="-2834"/>
                      <a:pt x="417588" y="-4285"/>
                      <a:pt x="481972" y="8458"/>
                    </a:cubicBezTo>
                    <a:cubicBezTo>
                      <a:pt x="565833" y="25033"/>
                      <a:pt x="609135" y="97290"/>
                      <a:pt x="602350" y="181047"/>
                    </a:cubicBezTo>
                    <a:cubicBezTo>
                      <a:pt x="598051" y="233829"/>
                      <a:pt x="587950" y="283969"/>
                      <a:pt x="578523" y="335559"/>
                    </a:cubicBezTo>
                    <a:cubicBezTo>
                      <a:pt x="547393" y="338305"/>
                      <a:pt x="520199" y="338305"/>
                      <a:pt x="492073" y="335352"/>
                    </a:cubicBezTo>
                    <a:cubicBezTo>
                      <a:pt x="494974" y="278789"/>
                      <a:pt x="545528" y="132409"/>
                      <a:pt x="474669" y="98482"/>
                    </a:cubicBezTo>
                    <a:cubicBezTo>
                      <a:pt x="415412" y="70148"/>
                      <a:pt x="335282" y="71910"/>
                      <a:pt x="279496" y="109152"/>
                    </a:cubicBezTo>
                    <a:cubicBezTo>
                      <a:pt x="241683" y="134378"/>
                      <a:pt x="224072" y="182083"/>
                      <a:pt x="216613" y="224661"/>
                    </a:cubicBezTo>
                    <a:lnTo>
                      <a:pt x="164246" y="524103"/>
                    </a:lnTo>
                    <a:close/>
                    <a:moveTo>
                      <a:pt x="317360" y="1045963"/>
                    </a:moveTo>
                    <a:cubicBezTo>
                      <a:pt x="359316" y="1025710"/>
                      <a:pt x="382884" y="982045"/>
                      <a:pt x="391948" y="939882"/>
                    </a:cubicBezTo>
                    <a:cubicBezTo>
                      <a:pt x="411994" y="846439"/>
                      <a:pt x="428103" y="756207"/>
                      <a:pt x="442554" y="661729"/>
                    </a:cubicBezTo>
                    <a:cubicBezTo>
                      <a:pt x="449184" y="618322"/>
                      <a:pt x="428362" y="571808"/>
                      <a:pt x="388478" y="555492"/>
                    </a:cubicBezTo>
                    <a:cubicBezTo>
                      <a:pt x="290632" y="515504"/>
                      <a:pt x="161397" y="558962"/>
                      <a:pt x="140523" y="662247"/>
                    </a:cubicBezTo>
                    <a:cubicBezTo>
                      <a:pt x="121099" y="758331"/>
                      <a:pt x="103384" y="850531"/>
                      <a:pt x="91781" y="947859"/>
                    </a:cubicBezTo>
                    <a:cubicBezTo>
                      <a:pt x="87327" y="985412"/>
                      <a:pt x="98981" y="1033117"/>
                      <a:pt x="134566" y="1049330"/>
                    </a:cubicBezTo>
                    <a:cubicBezTo>
                      <a:pt x="190145" y="1074659"/>
                      <a:pt x="260072" y="1073675"/>
                      <a:pt x="317360" y="104601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D2E97AE8-0A6E-06B8-6C74-77CC3402DC1A}"/>
                  </a:ext>
                </a:extLst>
              </p:cNvPr>
              <p:cNvSpPr/>
              <p:nvPr/>
            </p:nvSpPr>
            <p:spPr>
              <a:xfrm>
                <a:off x="-5956200" y="8570448"/>
                <a:ext cx="655577" cy="1150081"/>
              </a:xfrm>
              <a:custGeom>
                <a:avLst/>
                <a:gdLst>
                  <a:gd name="csX0" fmla="*/ 41231 w 655577"/>
                  <a:gd name="csY0" fmla="*/ 911087 h 1150081"/>
                  <a:gd name="csX1" fmla="*/ 148711 w 655577"/>
                  <a:gd name="csY1" fmla="*/ 724875 h 1150081"/>
                  <a:gd name="csX2" fmla="*/ 460843 w 655577"/>
                  <a:gd name="csY2" fmla="*/ 499296 h 1150081"/>
                  <a:gd name="csX3" fmla="*/ 535121 w 655577"/>
                  <a:gd name="csY3" fmla="*/ 362240 h 1150081"/>
                  <a:gd name="csX4" fmla="*/ 529475 w 655577"/>
                  <a:gd name="csY4" fmla="*/ 118688 h 1150081"/>
                  <a:gd name="csX5" fmla="*/ 443284 w 655577"/>
                  <a:gd name="csY5" fmla="*/ 88127 h 1150081"/>
                  <a:gd name="csX6" fmla="*/ 260283 w 655577"/>
                  <a:gd name="csY6" fmla="*/ 221920 h 1150081"/>
                  <a:gd name="csX7" fmla="*/ 226096 w 655577"/>
                  <a:gd name="csY7" fmla="*/ 393785 h 1150081"/>
                  <a:gd name="csX8" fmla="*/ 136538 w 655577"/>
                  <a:gd name="csY8" fmla="*/ 392024 h 1150081"/>
                  <a:gd name="csX9" fmla="*/ 169482 w 655577"/>
                  <a:gd name="csY9" fmla="*/ 205604 h 1150081"/>
                  <a:gd name="csX10" fmla="*/ 531702 w 655577"/>
                  <a:gd name="csY10" fmla="*/ 11570 h 1150081"/>
                  <a:gd name="csX11" fmla="*/ 655550 w 655577"/>
                  <a:gd name="csY11" fmla="*/ 177582 h 1150081"/>
                  <a:gd name="csX12" fmla="*/ 624368 w 655577"/>
                  <a:gd name="csY12" fmla="*/ 388916 h 1150081"/>
                  <a:gd name="csX13" fmla="*/ 549365 w 655577"/>
                  <a:gd name="csY13" fmla="*/ 536487 h 1150081"/>
                  <a:gd name="csX14" fmla="*/ 383250 w 655577"/>
                  <a:gd name="csY14" fmla="*/ 660542 h 1150081"/>
                  <a:gd name="csX15" fmla="*/ 134363 w 655577"/>
                  <a:gd name="csY15" fmla="*/ 918960 h 1150081"/>
                  <a:gd name="csX16" fmla="*/ 109500 w 655577"/>
                  <a:gd name="csY16" fmla="*/ 1061559 h 1150081"/>
                  <a:gd name="csX17" fmla="*/ 504405 w 655577"/>
                  <a:gd name="csY17" fmla="*/ 1062803 h 1150081"/>
                  <a:gd name="csX18" fmla="*/ 487881 w 655577"/>
                  <a:gd name="csY18" fmla="*/ 1150081 h 1150081"/>
                  <a:gd name="csX19" fmla="*/ 0 w 655577"/>
                  <a:gd name="csY19" fmla="*/ 1150081 h 1150081"/>
                  <a:gd name="csX20" fmla="*/ 41231 w 655577"/>
                  <a:gd name="csY20" fmla="*/ 911087 h 115008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55577" h="1150081">
                    <a:moveTo>
                      <a:pt x="41231" y="911087"/>
                    </a:moveTo>
                    <a:cubicBezTo>
                      <a:pt x="54336" y="835048"/>
                      <a:pt x="96240" y="775896"/>
                      <a:pt x="148711" y="724875"/>
                    </a:cubicBezTo>
                    <a:cubicBezTo>
                      <a:pt x="239823" y="637700"/>
                      <a:pt x="372321" y="573471"/>
                      <a:pt x="460843" y="499296"/>
                    </a:cubicBezTo>
                    <a:cubicBezTo>
                      <a:pt x="504508" y="462727"/>
                      <a:pt x="529734" y="419166"/>
                      <a:pt x="535121" y="362240"/>
                    </a:cubicBezTo>
                    <a:cubicBezTo>
                      <a:pt x="542683" y="282109"/>
                      <a:pt x="586038" y="176649"/>
                      <a:pt x="529475" y="118688"/>
                    </a:cubicBezTo>
                    <a:cubicBezTo>
                      <a:pt x="507927" y="96622"/>
                      <a:pt x="475398" y="91131"/>
                      <a:pt x="443284" y="88127"/>
                    </a:cubicBezTo>
                    <a:cubicBezTo>
                      <a:pt x="351757" y="79477"/>
                      <a:pt x="278257" y="131585"/>
                      <a:pt x="260283" y="221920"/>
                    </a:cubicBezTo>
                    <a:lnTo>
                      <a:pt x="226096" y="393785"/>
                    </a:lnTo>
                    <a:cubicBezTo>
                      <a:pt x="194085" y="397307"/>
                      <a:pt x="167099" y="399483"/>
                      <a:pt x="136538" y="392024"/>
                    </a:cubicBezTo>
                    <a:lnTo>
                      <a:pt x="169482" y="205604"/>
                    </a:lnTo>
                    <a:cubicBezTo>
                      <a:pt x="201026" y="26954"/>
                      <a:pt x="374237" y="-26449"/>
                      <a:pt x="531702" y="11570"/>
                    </a:cubicBezTo>
                    <a:cubicBezTo>
                      <a:pt x="608881" y="30217"/>
                      <a:pt x="656897" y="97399"/>
                      <a:pt x="655550" y="177582"/>
                    </a:cubicBezTo>
                    <a:cubicBezTo>
                      <a:pt x="654307" y="248855"/>
                      <a:pt x="633329" y="317280"/>
                      <a:pt x="624368" y="388916"/>
                    </a:cubicBezTo>
                    <a:cubicBezTo>
                      <a:pt x="617116" y="446981"/>
                      <a:pt x="592461" y="496810"/>
                      <a:pt x="549365" y="536487"/>
                    </a:cubicBezTo>
                    <a:cubicBezTo>
                      <a:pt x="497930" y="583779"/>
                      <a:pt x="441212" y="620762"/>
                      <a:pt x="383250" y="660542"/>
                    </a:cubicBezTo>
                    <a:cubicBezTo>
                      <a:pt x="291310" y="723632"/>
                      <a:pt x="154668" y="802830"/>
                      <a:pt x="134363" y="918960"/>
                    </a:cubicBezTo>
                    <a:lnTo>
                      <a:pt x="109500" y="1061559"/>
                    </a:lnTo>
                    <a:lnTo>
                      <a:pt x="504405" y="1062803"/>
                    </a:lnTo>
                    <a:cubicBezTo>
                      <a:pt x="502436" y="1094296"/>
                      <a:pt x="495962" y="1119624"/>
                      <a:pt x="487881" y="1150081"/>
                    </a:cubicBezTo>
                    <a:lnTo>
                      <a:pt x="0" y="1150081"/>
                    </a:lnTo>
                    <a:cubicBezTo>
                      <a:pt x="0" y="1150081"/>
                      <a:pt x="41231" y="911087"/>
                      <a:pt x="41231" y="91108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F24CD75E-B4D1-0EE5-8128-E3DC38B4B076}"/>
                  </a:ext>
                </a:extLst>
              </p:cNvPr>
              <p:cNvSpPr/>
              <p:nvPr/>
            </p:nvSpPr>
            <p:spPr>
              <a:xfrm>
                <a:off x="-7215710" y="8570497"/>
                <a:ext cx="655716" cy="1150342"/>
              </a:xfrm>
              <a:custGeom>
                <a:avLst/>
                <a:gdLst>
                  <a:gd name="csX0" fmla="*/ 43355 w 655716"/>
                  <a:gd name="csY0" fmla="*/ 902025 h 1150342"/>
                  <a:gd name="csX1" fmla="*/ 177976 w 655716"/>
                  <a:gd name="csY1" fmla="*/ 699601 h 1150342"/>
                  <a:gd name="csX2" fmla="*/ 456544 w 655716"/>
                  <a:gd name="csY2" fmla="*/ 503288 h 1150342"/>
                  <a:gd name="csX3" fmla="*/ 526937 w 655716"/>
                  <a:gd name="csY3" fmla="*/ 401505 h 1150342"/>
                  <a:gd name="csX4" fmla="*/ 557912 w 655716"/>
                  <a:gd name="csY4" fmla="*/ 223891 h 1150342"/>
                  <a:gd name="csX5" fmla="*/ 533308 w 655716"/>
                  <a:gd name="csY5" fmla="*/ 122782 h 1150342"/>
                  <a:gd name="csX6" fmla="*/ 434582 w 655716"/>
                  <a:gd name="csY6" fmla="*/ 87871 h 1150342"/>
                  <a:gd name="csX7" fmla="*/ 261371 w 655716"/>
                  <a:gd name="csY7" fmla="*/ 218194 h 1150342"/>
                  <a:gd name="csX8" fmla="*/ 226355 w 655716"/>
                  <a:gd name="csY8" fmla="*/ 393321 h 1150342"/>
                  <a:gd name="csX9" fmla="*/ 138041 w 655716"/>
                  <a:gd name="csY9" fmla="*/ 392959 h 1150342"/>
                  <a:gd name="csX10" fmla="*/ 286026 w 655716"/>
                  <a:gd name="csY10" fmla="*/ 35297 h 1150342"/>
                  <a:gd name="csX11" fmla="*/ 538747 w 655716"/>
                  <a:gd name="csY11" fmla="*/ 13800 h 1150342"/>
                  <a:gd name="csX12" fmla="*/ 654773 w 655716"/>
                  <a:gd name="csY12" fmla="*/ 195869 h 1150342"/>
                  <a:gd name="csX13" fmla="*/ 620017 w 655716"/>
                  <a:gd name="csY13" fmla="*/ 412694 h 1150342"/>
                  <a:gd name="csX14" fmla="*/ 136694 w 655716"/>
                  <a:gd name="csY14" fmla="*/ 910727 h 1150342"/>
                  <a:gd name="csX15" fmla="*/ 109759 w 655716"/>
                  <a:gd name="csY15" fmla="*/ 1061303 h 1150342"/>
                  <a:gd name="csX16" fmla="*/ 502696 w 655716"/>
                  <a:gd name="csY16" fmla="*/ 1062805 h 1150342"/>
                  <a:gd name="csX17" fmla="*/ 487312 w 655716"/>
                  <a:gd name="csY17" fmla="*/ 1150343 h 1150342"/>
                  <a:gd name="csX18" fmla="*/ 0 w 655716"/>
                  <a:gd name="csY18" fmla="*/ 1149877 h 1150342"/>
                  <a:gd name="csX19" fmla="*/ 43303 w 655716"/>
                  <a:gd name="csY19" fmla="*/ 902025 h 115034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655716" h="1150342">
                    <a:moveTo>
                      <a:pt x="43355" y="902025"/>
                    </a:moveTo>
                    <a:cubicBezTo>
                      <a:pt x="58324" y="816456"/>
                      <a:pt x="115353" y="752641"/>
                      <a:pt x="177976" y="699601"/>
                    </a:cubicBezTo>
                    <a:cubicBezTo>
                      <a:pt x="264686" y="625323"/>
                      <a:pt x="368333" y="573940"/>
                      <a:pt x="456544" y="503288"/>
                    </a:cubicBezTo>
                    <a:cubicBezTo>
                      <a:pt x="489176" y="477182"/>
                      <a:pt x="519582" y="443772"/>
                      <a:pt x="526937" y="401505"/>
                    </a:cubicBezTo>
                    <a:lnTo>
                      <a:pt x="557912" y="223891"/>
                    </a:lnTo>
                    <a:cubicBezTo>
                      <a:pt x="563972" y="189291"/>
                      <a:pt x="555684" y="149199"/>
                      <a:pt x="533308" y="122782"/>
                    </a:cubicBezTo>
                    <a:cubicBezTo>
                      <a:pt x="508393" y="93361"/>
                      <a:pt x="469856" y="89891"/>
                      <a:pt x="434582" y="87871"/>
                    </a:cubicBezTo>
                    <a:cubicBezTo>
                      <a:pt x="347717" y="82899"/>
                      <a:pt x="278412" y="133039"/>
                      <a:pt x="261371" y="218194"/>
                    </a:cubicBezTo>
                    <a:lnTo>
                      <a:pt x="226355" y="393321"/>
                    </a:lnTo>
                    <a:cubicBezTo>
                      <a:pt x="196572" y="397828"/>
                      <a:pt x="170569" y="398087"/>
                      <a:pt x="138041" y="392959"/>
                    </a:cubicBezTo>
                    <a:cubicBezTo>
                      <a:pt x="158863" y="273565"/>
                      <a:pt x="161401" y="99163"/>
                      <a:pt x="286026" y="35297"/>
                    </a:cubicBezTo>
                    <a:cubicBezTo>
                      <a:pt x="363205" y="-4225"/>
                      <a:pt x="456492" y="-9301"/>
                      <a:pt x="538747" y="13800"/>
                    </a:cubicBezTo>
                    <a:cubicBezTo>
                      <a:pt x="621001" y="36902"/>
                      <a:pt x="662646" y="111698"/>
                      <a:pt x="654773" y="195869"/>
                    </a:cubicBezTo>
                    <a:cubicBezTo>
                      <a:pt x="647936" y="269370"/>
                      <a:pt x="631775" y="339866"/>
                      <a:pt x="620017" y="412694"/>
                    </a:cubicBezTo>
                    <a:cubicBezTo>
                      <a:pt x="587436" y="614186"/>
                      <a:pt x="182017" y="705402"/>
                      <a:pt x="136694" y="910727"/>
                    </a:cubicBezTo>
                    <a:cubicBezTo>
                      <a:pt x="125557" y="961178"/>
                      <a:pt x="116959" y="1009661"/>
                      <a:pt x="109759" y="1061303"/>
                    </a:cubicBezTo>
                    <a:lnTo>
                      <a:pt x="502696" y="1062805"/>
                    </a:lnTo>
                    <a:cubicBezTo>
                      <a:pt x="502696" y="1094039"/>
                      <a:pt x="498137" y="1120507"/>
                      <a:pt x="487312" y="1150343"/>
                    </a:cubicBezTo>
                    <a:lnTo>
                      <a:pt x="0" y="1149877"/>
                    </a:lnTo>
                    <a:lnTo>
                      <a:pt x="43303" y="90202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4CD210D-D451-0744-136E-1D459221FCD9}"/>
                </a:ext>
              </a:extLst>
            </p:cNvPr>
            <p:cNvSpPr/>
            <p:nvPr/>
          </p:nvSpPr>
          <p:spPr>
            <a:xfrm>
              <a:off x="5348601" y="1779067"/>
              <a:ext cx="386805" cy="562523"/>
            </a:xfrm>
            <a:custGeom>
              <a:avLst/>
              <a:gdLst>
                <a:gd name="csX0" fmla="*/ 587022 w 787168"/>
                <a:gd name="csY0" fmla="*/ 1142085 h 1144765"/>
                <a:gd name="csX1" fmla="*/ 438622 w 787168"/>
                <a:gd name="csY1" fmla="*/ 1143328 h 1144765"/>
                <a:gd name="csX2" fmla="*/ 286389 w 787168"/>
                <a:gd name="csY2" fmla="*/ 362117 h 1144765"/>
                <a:gd name="csX3" fmla="*/ 148090 w 787168"/>
                <a:gd name="csY3" fmla="*/ 1141101 h 1144765"/>
                <a:gd name="csX4" fmla="*/ 0 w 787168"/>
                <a:gd name="csY4" fmla="*/ 1142603 h 1144765"/>
                <a:gd name="csX5" fmla="*/ 200301 w 787168"/>
                <a:gd name="csY5" fmla="*/ 673 h 1144765"/>
                <a:gd name="csX6" fmla="*/ 357145 w 787168"/>
                <a:gd name="csY6" fmla="*/ 570 h 1144765"/>
                <a:gd name="csX7" fmla="*/ 505338 w 787168"/>
                <a:gd name="csY7" fmla="*/ 755261 h 1144765"/>
                <a:gd name="csX8" fmla="*/ 639130 w 787168"/>
                <a:gd name="csY8" fmla="*/ 0 h 1144765"/>
                <a:gd name="csX9" fmla="*/ 787168 w 787168"/>
                <a:gd name="csY9" fmla="*/ 1088 h 1144765"/>
                <a:gd name="csX10" fmla="*/ 586971 w 787168"/>
                <a:gd name="csY10" fmla="*/ 1142137 h 11447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7168" h="1144765">
                  <a:moveTo>
                    <a:pt x="587022" y="1142085"/>
                  </a:moveTo>
                  <a:lnTo>
                    <a:pt x="438622" y="1143328"/>
                  </a:lnTo>
                  <a:lnTo>
                    <a:pt x="286389" y="362117"/>
                  </a:lnTo>
                  <a:lnTo>
                    <a:pt x="148090" y="1141101"/>
                  </a:lnTo>
                  <a:cubicBezTo>
                    <a:pt x="99918" y="1147109"/>
                    <a:pt x="54284" y="1144312"/>
                    <a:pt x="0" y="1142603"/>
                  </a:cubicBezTo>
                  <a:lnTo>
                    <a:pt x="200301" y="673"/>
                  </a:lnTo>
                  <a:lnTo>
                    <a:pt x="357145" y="570"/>
                  </a:lnTo>
                  <a:lnTo>
                    <a:pt x="505338" y="755261"/>
                  </a:lnTo>
                  <a:lnTo>
                    <a:pt x="639130" y="0"/>
                  </a:lnTo>
                  <a:lnTo>
                    <a:pt x="787168" y="1088"/>
                  </a:lnTo>
                  <a:lnTo>
                    <a:pt x="586971" y="1142137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67AFE10-216B-6E73-7DDE-39B464BEC852}"/>
                </a:ext>
              </a:extLst>
            </p:cNvPr>
            <p:cNvSpPr/>
            <p:nvPr/>
          </p:nvSpPr>
          <p:spPr>
            <a:xfrm>
              <a:off x="4636052" y="1778655"/>
              <a:ext cx="387237" cy="562904"/>
            </a:xfrm>
            <a:custGeom>
              <a:avLst/>
              <a:gdLst>
                <a:gd name="csX0" fmla="*/ 587644 w 788048"/>
                <a:gd name="csY0" fmla="*/ 1142200 h 1145539"/>
                <a:gd name="csX1" fmla="*/ 438519 w 788048"/>
                <a:gd name="csY1" fmla="*/ 1143444 h 1145539"/>
                <a:gd name="csX2" fmla="*/ 287580 w 788048"/>
                <a:gd name="csY2" fmla="*/ 358348 h 1145539"/>
                <a:gd name="csX3" fmla="*/ 148089 w 788048"/>
                <a:gd name="csY3" fmla="*/ 1143081 h 1145539"/>
                <a:gd name="csX4" fmla="*/ 0 w 788048"/>
                <a:gd name="csY4" fmla="*/ 1143081 h 1145539"/>
                <a:gd name="csX5" fmla="*/ 200716 w 788048"/>
                <a:gd name="csY5" fmla="*/ 2550 h 1145539"/>
                <a:gd name="csX6" fmla="*/ 358491 w 788048"/>
                <a:gd name="csY6" fmla="*/ 1618 h 1145539"/>
                <a:gd name="csX7" fmla="*/ 505700 w 788048"/>
                <a:gd name="csY7" fmla="*/ 756619 h 1145539"/>
                <a:gd name="csX8" fmla="*/ 639286 w 788048"/>
                <a:gd name="csY8" fmla="*/ 1669 h 1145539"/>
                <a:gd name="csX9" fmla="*/ 788049 w 788048"/>
                <a:gd name="csY9" fmla="*/ 2498 h 1145539"/>
                <a:gd name="csX10" fmla="*/ 587644 w 788048"/>
                <a:gd name="csY10" fmla="*/ 1142045 h 114553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88048" h="1145539">
                  <a:moveTo>
                    <a:pt x="587644" y="1142200"/>
                  </a:moveTo>
                  <a:cubicBezTo>
                    <a:pt x="536727" y="1147639"/>
                    <a:pt x="490627" y="1145205"/>
                    <a:pt x="438519" y="1143444"/>
                  </a:cubicBezTo>
                  <a:lnTo>
                    <a:pt x="287580" y="358348"/>
                  </a:lnTo>
                  <a:lnTo>
                    <a:pt x="148089" y="1143081"/>
                  </a:lnTo>
                  <a:cubicBezTo>
                    <a:pt x="99089" y="1146085"/>
                    <a:pt x="52471" y="1146137"/>
                    <a:pt x="0" y="1143081"/>
                  </a:cubicBezTo>
                  <a:lnTo>
                    <a:pt x="200716" y="2550"/>
                  </a:lnTo>
                  <a:cubicBezTo>
                    <a:pt x="253497" y="-1490"/>
                    <a:pt x="304104" y="219"/>
                    <a:pt x="358491" y="1618"/>
                  </a:cubicBezTo>
                  <a:lnTo>
                    <a:pt x="505700" y="756619"/>
                  </a:lnTo>
                  <a:lnTo>
                    <a:pt x="639286" y="1669"/>
                  </a:lnTo>
                  <a:cubicBezTo>
                    <a:pt x="688597" y="12"/>
                    <a:pt x="737494" y="-1387"/>
                    <a:pt x="788049" y="2498"/>
                  </a:cubicBezTo>
                  <a:lnTo>
                    <a:pt x="587644" y="1142045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AA16966-0061-7378-3369-83B212365998}"/>
                </a:ext>
              </a:extLst>
            </p:cNvPr>
            <p:cNvSpPr/>
            <p:nvPr/>
          </p:nvSpPr>
          <p:spPr>
            <a:xfrm>
              <a:off x="5736031" y="1771875"/>
              <a:ext cx="340552" cy="574498"/>
            </a:xfrm>
            <a:custGeom>
              <a:avLst/>
              <a:gdLst>
                <a:gd name="csX0" fmla="*/ 194107 w 693042"/>
                <a:gd name="csY0" fmla="*/ 1006820 h 1169134"/>
                <a:gd name="csX1" fmla="*/ 356856 w 693042"/>
                <a:gd name="csY1" fmla="*/ 1004904 h 1169134"/>
                <a:gd name="csX2" fmla="*/ 411088 w 693042"/>
                <a:gd name="csY2" fmla="*/ 911461 h 1169134"/>
                <a:gd name="csX3" fmla="*/ 451645 w 693042"/>
                <a:gd name="csY3" fmla="*/ 692409 h 1169134"/>
                <a:gd name="csX4" fmla="*/ 610508 w 693042"/>
                <a:gd name="csY4" fmla="*/ 694170 h 1169134"/>
                <a:gd name="csX5" fmla="*/ 562388 w 693042"/>
                <a:gd name="csY5" fmla="*/ 960306 h 1169134"/>
                <a:gd name="csX6" fmla="*/ 354939 w 693042"/>
                <a:gd name="csY6" fmla="*/ 1160090 h 1169134"/>
                <a:gd name="csX7" fmla="*/ 141533 w 693042"/>
                <a:gd name="csY7" fmla="*/ 1157707 h 1169134"/>
                <a:gd name="csX8" fmla="*/ 2560 w 693042"/>
                <a:gd name="csY8" fmla="*/ 962896 h 1169134"/>
                <a:gd name="csX9" fmla="*/ 133090 w 693042"/>
                <a:gd name="csY9" fmla="*/ 215975 h 1169134"/>
                <a:gd name="csX10" fmla="*/ 243315 w 693042"/>
                <a:gd name="csY10" fmla="*/ 48513 h 1169134"/>
                <a:gd name="csX11" fmla="*/ 594658 w 693042"/>
                <a:gd name="csY11" fmla="*/ 27846 h 1169134"/>
                <a:gd name="csX12" fmla="*/ 652878 w 693042"/>
                <a:gd name="csY12" fmla="*/ 450307 h 1169134"/>
                <a:gd name="csX13" fmla="*/ 495466 w 693042"/>
                <a:gd name="csY13" fmla="*/ 450307 h 1169134"/>
                <a:gd name="csX14" fmla="*/ 527425 w 693042"/>
                <a:gd name="csY14" fmla="*/ 247571 h 1169134"/>
                <a:gd name="csX15" fmla="*/ 499817 w 693042"/>
                <a:gd name="csY15" fmla="*/ 160034 h 1169134"/>
                <a:gd name="csX16" fmla="*/ 392026 w 693042"/>
                <a:gd name="csY16" fmla="*/ 144701 h 1169134"/>
                <a:gd name="csX17" fmla="*/ 288586 w 693042"/>
                <a:gd name="csY17" fmla="*/ 246069 h 1169134"/>
                <a:gd name="csX18" fmla="*/ 169866 w 693042"/>
                <a:gd name="csY18" fmla="*/ 911513 h 1169134"/>
                <a:gd name="csX19" fmla="*/ 194159 w 693042"/>
                <a:gd name="csY19" fmla="*/ 1006717 h 116913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693042" h="1169134">
                  <a:moveTo>
                    <a:pt x="194107" y="1006820"/>
                  </a:moveTo>
                  <a:cubicBezTo>
                    <a:pt x="241709" y="1039764"/>
                    <a:pt x="311274" y="1034170"/>
                    <a:pt x="356856" y="1004904"/>
                  </a:cubicBezTo>
                  <a:cubicBezTo>
                    <a:pt x="389281" y="984081"/>
                    <a:pt x="404509" y="947201"/>
                    <a:pt x="411088" y="911461"/>
                  </a:cubicBezTo>
                  <a:lnTo>
                    <a:pt x="451645" y="692409"/>
                  </a:lnTo>
                  <a:lnTo>
                    <a:pt x="610508" y="694170"/>
                  </a:lnTo>
                  <a:lnTo>
                    <a:pt x="562388" y="960306"/>
                  </a:lnTo>
                  <a:cubicBezTo>
                    <a:pt x="543016" y="1067372"/>
                    <a:pt x="462004" y="1143411"/>
                    <a:pt x="354939" y="1160090"/>
                  </a:cubicBezTo>
                  <a:cubicBezTo>
                    <a:pt x="283147" y="1171278"/>
                    <a:pt x="213117" y="1173816"/>
                    <a:pt x="141533" y="1157707"/>
                  </a:cubicBezTo>
                  <a:cubicBezTo>
                    <a:pt x="53270" y="1137817"/>
                    <a:pt x="-14170" y="1058618"/>
                    <a:pt x="2560" y="962896"/>
                  </a:cubicBezTo>
                  <a:lnTo>
                    <a:pt x="133090" y="215975"/>
                  </a:lnTo>
                  <a:cubicBezTo>
                    <a:pt x="145366" y="145841"/>
                    <a:pt x="186182" y="85134"/>
                    <a:pt x="243315" y="48513"/>
                  </a:cubicBezTo>
                  <a:cubicBezTo>
                    <a:pt x="332355" y="-8568"/>
                    <a:pt x="503805" y="-15042"/>
                    <a:pt x="594658" y="27846"/>
                  </a:cubicBezTo>
                  <a:cubicBezTo>
                    <a:pt x="759892" y="105905"/>
                    <a:pt x="671163" y="304652"/>
                    <a:pt x="652878" y="450307"/>
                  </a:cubicBezTo>
                  <a:lnTo>
                    <a:pt x="495466" y="450307"/>
                  </a:lnTo>
                  <a:cubicBezTo>
                    <a:pt x="495466" y="450307"/>
                    <a:pt x="527425" y="247571"/>
                    <a:pt x="527425" y="247571"/>
                  </a:cubicBezTo>
                  <a:cubicBezTo>
                    <a:pt x="532553" y="215198"/>
                    <a:pt x="527632" y="178784"/>
                    <a:pt x="499817" y="160034"/>
                  </a:cubicBezTo>
                  <a:cubicBezTo>
                    <a:pt x="468220" y="138745"/>
                    <a:pt x="429217" y="139056"/>
                    <a:pt x="392026" y="144701"/>
                  </a:cubicBezTo>
                  <a:cubicBezTo>
                    <a:pt x="338985" y="152730"/>
                    <a:pt x="298480" y="190542"/>
                    <a:pt x="288586" y="246069"/>
                  </a:cubicBezTo>
                  <a:lnTo>
                    <a:pt x="169866" y="911513"/>
                  </a:lnTo>
                  <a:cubicBezTo>
                    <a:pt x="164116" y="943627"/>
                    <a:pt x="164272" y="986101"/>
                    <a:pt x="194159" y="1006717"/>
                  </a:cubicBez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76AF1A9-44B8-D688-7A89-35C21B08EF2F}"/>
                </a:ext>
              </a:extLst>
            </p:cNvPr>
            <p:cNvSpPr/>
            <p:nvPr/>
          </p:nvSpPr>
          <p:spPr>
            <a:xfrm>
              <a:off x="4976559" y="1779526"/>
              <a:ext cx="320357" cy="562027"/>
            </a:xfrm>
            <a:custGeom>
              <a:avLst/>
              <a:gdLst>
                <a:gd name="csX0" fmla="*/ 495599 w 651944"/>
                <a:gd name="csY0" fmla="*/ 1142603 h 1143755"/>
                <a:gd name="csX1" fmla="*/ 490419 w 651944"/>
                <a:gd name="csY1" fmla="*/ 874343 h 1143755"/>
                <a:gd name="csX2" fmla="*/ 253912 w 651944"/>
                <a:gd name="csY2" fmla="*/ 874084 h 1143755"/>
                <a:gd name="csX3" fmla="*/ 158138 w 651944"/>
                <a:gd name="csY3" fmla="*/ 1141619 h 1143755"/>
                <a:gd name="csX4" fmla="*/ 0 w 651944"/>
                <a:gd name="csY4" fmla="*/ 1140427 h 1143755"/>
                <a:gd name="csX5" fmla="*/ 426605 w 651944"/>
                <a:gd name="csY5" fmla="*/ 0 h 1143755"/>
                <a:gd name="csX6" fmla="*/ 622969 w 651944"/>
                <a:gd name="csY6" fmla="*/ 570 h 1143755"/>
                <a:gd name="csX7" fmla="*/ 641306 w 651944"/>
                <a:gd name="csY7" fmla="*/ 751272 h 1143755"/>
                <a:gd name="csX8" fmla="*/ 646693 w 651944"/>
                <a:gd name="csY8" fmla="*/ 1005598 h 1143755"/>
                <a:gd name="csX9" fmla="*/ 650008 w 651944"/>
                <a:gd name="csY9" fmla="*/ 1141878 h 1143755"/>
                <a:gd name="csX10" fmla="*/ 495599 w 651944"/>
                <a:gd name="csY10" fmla="*/ 1142499 h 1143755"/>
                <a:gd name="csX11" fmla="*/ 491404 w 651944"/>
                <a:gd name="csY11" fmla="*/ 736510 h 1143755"/>
                <a:gd name="csX12" fmla="*/ 490264 w 651944"/>
                <a:gd name="csY12" fmla="*/ 425931 h 1143755"/>
                <a:gd name="csX13" fmla="*/ 484463 w 651944"/>
                <a:gd name="csY13" fmla="*/ 223299 h 1143755"/>
                <a:gd name="csX14" fmla="*/ 303119 w 651944"/>
                <a:gd name="csY14" fmla="*/ 736406 h 1143755"/>
                <a:gd name="csX15" fmla="*/ 491404 w 651944"/>
                <a:gd name="csY15" fmla="*/ 736510 h 1143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651944" h="1143755">
                  <a:moveTo>
                    <a:pt x="495599" y="1142603"/>
                  </a:moveTo>
                  <a:lnTo>
                    <a:pt x="490419" y="874343"/>
                  </a:lnTo>
                  <a:lnTo>
                    <a:pt x="253912" y="874084"/>
                  </a:lnTo>
                  <a:lnTo>
                    <a:pt x="158138" y="1141619"/>
                  </a:lnTo>
                  <a:cubicBezTo>
                    <a:pt x="106288" y="1143535"/>
                    <a:pt x="55164" y="1145763"/>
                    <a:pt x="0" y="1140427"/>
                  </a:cubicBezTo>
                  <a:lnTo>
                    <a:pt x="426605" y="0"/>
                  </a:lnTo>
                  <a:lnTo>
                    <a:pt x="622969" y="570"/>
                  </a:lnTo>
                  <a:lnTo>
                    <a:pt x="641306" y="751272"/>
                  </a:lnTo>
                  <a:cubicBezTo>
                    <a:pt x="643429" y="838758"/>
                    <a:pt x="648868" y="918889"/>
                    <a:pt x="646693" y="1005598"/>
                  </a:cubicBezTo>
                  <a:cubicBezTo>
                    <a:pt x="645553" y="1051491"/>
                    <a:pt x="656172" y="1095312"/>
                    <a:pt x="650008" y="1141878"/>
                  </a:cubicBezTo>
                  <a:lnTo>
                    <a:pt x="495599" y="1142499"/>
                  </a:lnTo>
                  <a:close/>
                  <a:moveTo>
                    <a:pt x="491404" y="736510"/>
                  </a:moveTo>
                  <a:lnTo>
                    <a:pt x="490264" y="425931"/>
                  </a:lnTo>
                  <a:lnTo>
                    <a:pt x="484463" y="223299"/>
                  </a:lnTo>
                  <a:lnTo>
                    <a:pt x="303119" y="736406"/>
                  </a:lnTo>
                  <a:lnTo>
                    <a:pt x="491404" y="736510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7CC60B1-6A14-FC96-E50C-05B9347DB87F}"/>
                </a:ext>
              </a:extLst>
            </p:cNvPr>
            <p:cNvSpPr/>
            <p:nvPr/>
          </p:nvSpPr>
          <p:spPr>
            <a:xfrm>
              <a:off x="6074945" y="1779042"/>
              <a:ext cx="338113" cy="562071"/>
            </a:xfrm>
            <a:custGeom>
              <a:avLst/>
              <a:gdLst>
                <a:gd name="csX0" fmla="*/ 528024 w 688078"/>
                <a:gd name="csY0" fmla="*/ 632138 h 1143845"/>
                <a:gd name="csX1" fmla="*/ 249353 w 688078"/>
                <a:gd name="csY1" fmla="*/ 634469 h 1143845"/>
                <a:gd name="csX2" fmla="*/ 186782 w 688078"/>
                <a:gd name="csY2" fmla="*/ 1000885 h 1143845"/>
                <a:gd name="csX3" fmla="*/ 516577 w 688078"/>
                <a:gd name="csY3" fmla="*/ 1002749 h 1143845"/>
                <a:gd name="csX4" fmla="*/ 490471 w 688078"/>
                <a:gd name="csY4" fmla="*/ 1143587 h 1143845"/>
                <a:gd name="csX5" fmla="*/ 0 w 688078"/>
                <a:gd name="csY5" fmla="*/ 1143846 h 1143845"/>
                <a:gd name="csX6" fmla="*/ 200405 w 688078"/>
                <a:gd name="csY6" fmla="*/ 52 h 1143845"/>
                <a:gd name="csX7" fmla="*/ 688079 w 688078"/>
                <a:gd name="csY7" fmla="*/ 0 h 1143845"/>
                <a:gd name="csX8" fmla="*/ 663889 w 688078"/>
                <a:gd name="csY8" fmla="*/ 137833 h 1143845"/>
                <a:gd name="csX9" fmla="*/ 336062 w 688078"/>
                <a:gd name="csY9" fmla="*/ 139905 h 1143845"/>
                <a:gd name="csX10" fmla="*/ 275770 w 688078"/>
                <a:gd name="csY10" fmla="*/ 486224 h 1143845"/>
                <a:gd name="csX11" fmla="*/ 548795 w 688078"/>
                <a:gd name="csY11" fmla="*/ 489798 h 1143845"/>
                <a:gd name="csX12" fmla="*/ 528024 w 688078"/>
                <a:gd name="csY12" fmla="*/ 632138 h 11438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688078" h="1143845">
                  <a:moveTo>
                    <a:pt x="528024" y="632138"/>
                  </a:moveTo>
                  <a:lnTo>
                    <a:pt x="249353" y="634469"/>
                  </a:lnTo>
                  <a:lnTo>
                    <a:pt x="186782" y="1000885"/>
                  </a:lnTo>
                  <a:lnTo>
                    <a:pt x="516577" y="1002749"/>
                  </a:lnTo>
                  <a:lnTo>
                    <a:pt x="490471" y="1143587"/>
                  </a:lnTo>
                  <a:lnTo>
                    <a:pt x="0" y="1143846"/>
                  </a:lnTo>
                  <a:lnTo>
                    <a:pt x="200405" y="52"/>
                  </a:lnTo>
                  <a:lnTo>
                    <a:pt x="688079" y="0"/>
                  </a:lnTo>
                  <a:lnTo>
                    <a:pt x="663889" y="137833"/>
                  </a:lnTo>
                  <a:lnTo>
                    <a:pt x="336062" y="139905"/>
                  </a:lnTo>
                  <a:lnTo>
                    <a:pt x="275770" y="486224"/>
                  </a:lnTo>
                  <a:lnTo>
                    <a:pt x="548795" y="489798"/>
                  </a:lnTo>
                  <a:lnTo>
                    <a:pt x="528024" y="632138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2" name="Graphic 2">
              <a:extLst>
                <a:ext uri="{FF2B5EF4-FFF2-40B4-BE49-F238E27FC236}">
                  <a16:creationId xmlns:a16="http://schemas.microsoft.com/office/drawing/2014/main" id="{5A363908-5A4A-7B23-3FE8-E8B6FBC9CE06}"/>
                </a:ext>
              </a:extLst>
            </p:cNvPr>
            <p:cNvGrpSpPr/>
            <p:nvPr/>
          </p:nvGrpSpPr>
          <p:grpSpPr>
            <a:xfrm>
              <a:off x="3966315" y="1779017"/>
              <a:ext cx="669653" cy="562590"/>
              <a:chOff x="-4733000" y="7156601"/>
              <a:chExt cx="1362779" cy="1144900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6D03D90E-107B-0293-4CC4-E03417260620}"/>
                  </a:ext>
                </a:extLst>
              </p:cNvPr>
              <p:cNvSpPr/>
              <p:nvPr/>
            </p:nvSpPr>
            <p:spPr>
              <a:xfrm>
                <a:off x="-4101588" y="7156704"/>
                <a:ext cx="731366" cy="1144797"/>
              </a:xfrm>
              <a:custGeom>
                <a:avLst/>
                <a:gdLst>
                  <a:gd name="csX0" fmla="*/ 607275 w 731366"/>
                  <a:gd name="csY0" fmla="*/ 1140479 h 1144797"/>
                  <a:gd name="csX1" fmla="*/ 448204 w 731366"/>
                  <a:gd name="csY1" fmla="*/ 1143121 h 1144797"/>
                  <a:gd name="csX2" fmla="*/ 370819 w 731366"/>
                  <a:gd name="csY2" fmla="*/ 676632 h 1144797"/>
                  <a:gd name="csX3" fmla="*/ 241118 w 731366"/>
                  <a:gd name="csY3" fmla="*/ 677409 h 1144797"/>
                  <a:gd name="csX4" fmla="*/ 159433 w 731366"/>
                  <a:gd name="csY4" fmla="*/ 1143017 h 1144797"/>
                  <a:gd name="csX5" fmla="*/ 0 w 731366"/>
                  <a:gd name="csY5" fmla="*/ 1143017 h 1144797"/>
                  <a:gd name="csX6" fmla="*/ 200094 w 731366"/>
                  <a:gd name="csY6" fmla="*/ 0 h 1144797"/>
                  <a:gd name="csX7" fmla="*/ 527869 w 731366"/>
                  <a:gd name="csY7" fmla="*/ 259 h 1144797"/>
                  <a:gd name="csX8" fmla="*/ 624213 w 731366"/>
                  <a:gd name="csY8" fmla="*/ 22843 h 1144797"/>
                  <a:gd name="csX9" fmla="*/ 730657 w 731366"/>
                  <a:gd name="csY9" fmla="*/ 208589 h 1144797"/>
                  <a:gd name="csX10" fmla="*/ 686629 w 731366"/>
                  <a:gd name="csY10" fmla="*/ 460791 h 1144797"/>
                  <a:gd name="csX11" fmla="*/ 521705 w 731366"/>
                  <a:gd name="csY11" fmla="*/ 653478 h 1144797"/>
                  <a:gd name="csX12" fmla="*/ 607327 w 731366"/>
                  <a:gd name="csY12" fmla="*/ 1140479 h 1144797"/>
                  <a:gd name="csX13" fmla="*/ 529941 w 731366"/>
                  <a:gd name="csY13" fmla="*/ 436343 h 1144797"/>
                  <a:gd name="csX14" fmla="*/ 563609 w 731366"/>
                  <a:gd name="csY14" fmla="*/ 227029 h 1144797"/>
                  <a:gd name="csX15" fmla="*/ 335545 w 731366"/>
                  <a:gd name="csY15" fmla="*/ 140423 h 1144797"/>
                  <a:gd name="csX16" fmla="*/ 266965 w 731366"/>
                  <a:gd name="csY16" fmla="*/ 534499 h 1144797"/>
                  <a:gd name="csX17" fmla="*/ 529941 w 731366"/>
                  <a:gd name="csY17" fmla="*/ 436343 h 114479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</a:cxnLst>
                <a:rect l="l" t="t" r="r" b="b"/>
                <a:pathLst>
                  <a:path w="731366" h="1144797">
                    <a:moveTo>
                      <a:pt x="607275" y="1140479"/>
                    </a:moveTo>
                    <a:cubicBezTo>
                      <a:pt x="554079" y="1148249"/>
                      <a:pt x="503058" y="1143173"/>
                      <a:pt x="448204" y="1143121"/>
                    </a:cubicBezTo>
                    <a:lnTo>
                      <a:pt x="370819" y="676632"/>
                    </a:lnTo>
                    <a:cubicBezTo>
                      <a:pt x="324356" y="674353"/>
                      <a:pt x="283540" y="672902"/>
                      <a:pt x="241118" y="677409"/>
                    </a:cubicBezTo>
                    <a:lnTo>
                      <a:pt x="159433" y="1143017"/>
                    </a:lnTo>
                    <a:lnTo>
                      <a:pt x="0" y="1143017"/>
                    </a:lnTo>
                    <a:cubicBezTo>
                      <a:pt x="0" y="1143017"/>
                      <a:pt x="200094" y="0"/>
                      <a:pt x="200094" y="0"/>
                    </a:cubicBezTo>
                    <a:lnTo>
                      <a:pt x="527869" y="259"/>
                    </a:lnTo>
                    <a:cubicBezTo>
                      <a:pt x="561745" y="259"/>
                      <a:pt x="593859" y="11758"/>
                      <a:pt x="624213" y="22843"/>
                    </a:cubicBezTo>
                    <a:cubicBezTo>
                      <a:pt x="700459" y="53921"/>
                      <a:pt x="737028" y="125816"/>
                      <a:pt x="730657" y="208589"/>
                    </a:cubicBezTo>
                    <a:lnTo>
                      <a:pt x="686629" y="460791"/>
                    </a:lnTo>
                    <a:cubicBezTo>
                      <a:pt x="670831" y="551178"/>
                      <a:pt x="611937" y="623643"/>
                      <a:pt x="521705" y="653478"/>
                    </a:cubicBezTo>
                    <a:lnTo>
                      <a:pt x="607327" y="1140479"/>
                    </a:lnTo>
                    <a:close/>
                    <a:moveTo>
                      <a:pt x="529941" y="436343"/>
                    </a:moveTo>
                    <a:cubicBezTo>
                      <a:pt x="546050" y="367089"/>
                      <a:pt x="558326" y="296852"/>
                      <a:pt x="563609" y="227029"/>
                    </a:cubicBezTo>
                    <a:cubicBezTo>
                      <a:pt x="572415" y="110070"/>
                      <a:pt x="411583" y="143842"/>
                      <a:pt x="335545" y="140423"/>
                    </a:cubicBezTo>
                    <a:lnTo>
                      <a:pt x="266965" y="534499"/>
                    </a:lnTo>
                    <a:cubicBezTo>
                      <a:pt x="366416" y="532997"/>
                      <a:pt x="500623" y="562522"/>
                      <a:pt x="529941" y="43634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CBE5F2B9-E33F-4CF3-8DB1-9877A778EF52}"/>
                  </a:ext>
                </a:extLst>
              </p:cNvPr>
              <p:cNvSpPr/>
              <p:nvPr/>
            </p:nvSpPr>
            <p:spPr>
              <a:xfrm>
                <a:off x="-4733000" y="7156601"/>
                <a:ext cx="685644" cy="1144105"/>
              </a:xfrm>
              <a:custGeom>
                <a:avLst/>
                <a:gdLst>
                  <a:gd name="csX0" fmla="*/ 527196 w 685644"/>
                  <a:gd name="csY0" fmla="*/ 632811 h 1144105"/>
                  <a:gd name="csX1" fmla="*/ 249095 w 685644"/>
                  <a:gd name="csY1" fmla="*/ 634780 h 1144105"/>
                  <a:gd name="csX2" fmla="*/ 185280 w 685644"/>
                  <a:gd name="csY2" fmla="*/ 1000936 h 1144105"/>
                  <a:gd name="csX3" fmla="*/ 515593 w 685644"/>
                  <a:gd name="csY3" fmla="*/ 1003060 h 1144105"/>
                  <a:gd name="csX4" fmla="*/ 488348 w 685644"/>
                  <a:gd name="csY4" fmla="*/ 1144105 h 1144105"/>
                  <a:gd name="csX5" fmla="*/ 0 w 685644"/>
                  <a:gd name="csY5" fmla="*/ 1143587 h 1144105"/>
                  <a:gd name="csX6" fmla="*/ 200094 w 685644"/>
                  <a:gd name="csY6" fmla="*/ 259 h 1144105"/>
                  <a:gd name="csX7" fmla="*/ 685645 w 685644"/>
                  <a:gd name="csY7" fmla="*/ 0 h 1144105"/>
                  <a:gd name="csX8" fmla="*/ 661766 w 685644"/>
                  <a:gd name="csY8" fmla="*/ 139439 h 1144105"/>
                  <a:gd name="csX9" fmla="*/ 335648 w 685644"/>
                  <a:gd name="csY9" fmla="*/ 139905 h 1144105"/>
                  <a:gd name="csX10" fmla="*/ 275511 w 685644"/>
                  <a:gd name="csY10" fmla="*/ 487208 h 1144105"/>
                  <a:gd name="csX11" fmla="*/ 549624 w 685644"/>
                  <a:gd name="csY11" fmla="*/ 489021 h 1144105"/>
                  <a:gd name="csX12" fmla="*/ 527196 w 685644"/>
                  <a:gd name="csY12" fmla="*/ 632811 h 11441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685644" h="1144105">
                    <a:moveTo>
                      <a:pt x="527196" y="632811"/>
                    </a:moveTo>
                    <a:lnTo>
                      <a:pt x="249095" y="634780"/>
                    </a:lnTo>
                    <a:lnTo>
                      <a:pt x="185280" y="1000936"/>
                    </a:lnTo>
                    <a:lnTo>
                      <a:pt x="515593" y="1003060"/>
                    </a:lnTo>
                    <a:lnTo>
                      <a:pt x="488348" y="1144105"/>
                    </a:lnTo>
                    <a:lnTo>
                      <a:pt x="0" y="1143587"/>
                    </a:lnTo>
                    <a:lnTo>
                      <a:pt x="200094" y="259"/>
                    </a:lnTo>
                    <a:lnTo>
                      <a:pt x="685645" y="0"/>
                    </a:lnTo>
                    <a:lnTo>
                      <a:pt x="661766" y="139439"/>
                    </a:lnTo>
                    <a:lnTo>
                      <a:pt x="335648" y="139905"/>
                    </a:lnTo>
                    <a:lnTo>
                      <a:pt x="275511" y="487208"/>
                    </a:lnTo>
                    <a:lnTo>
                      <a:pt x="549624" y="489021"/>
                    </a:lnTo>
                    <a:lnTo>
                      <a:pt x="527196" y="632811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11F42F1-278F-F133-43EA-7FFA6D1A8F52}"/>
                </a:ext>
              </a:extLst>
            </p:cNvPr>
            <p:cNvSpPr/>
            <p:nvPr/>
          </p:nvSpPr>
          <p:spPr>
            <a:xfrm>
              <a:off x="3728256" y="1779042"/>
              <a:ext cx="284536" cy="562560"/>
            </a:xfrm>
            <a:custGeom>
              <a:avLst/>
              <a:gdLst>
                <a:gd name="csX0" fmla="*/ 181395 w 579045"/>
                <a:gd name="csY0" fmla="*/ 1141153 h 1144840"/>
                <a:gd name="csX1" fmla="*/ 21859 w 579045"/>
                <a:gd name="csY1" fmla="*/ 1142706 h 1144840"/>
                <a:gd name="csX2" fmla="*/ 198229 w 579045"/>
                <a:gd name="csY2" fmla="*/ 141304 h 1144840"/>
                <a:gd name="csX3" fmla="*/ 0 w 579045"/>
                <a:gd name="csY3" fmla="*/ 138507 h 1144840"/>
                <a:gd name="csX4" fmla="*/ 24500 w 579045"/>
                <a:gd name="csY4" fmla="*/ 104 h 1144840"/>
                <a:gd name="csX5" fmla="*/ 579045 w 579045"/>
                <a:gd name="csY5" fmla="*/ 0 h 1144840"/>
                <a:gd name="csX6" fmla="*/ 555944 w 579045"/>
                <a:gd name="csY6" fmla="*/ 138817 h 1144840"/>
                <a:gd name="csX7" fmla="*/ 358802 w 579045"/>
                <a:gd name="csY7" fmla="*/ 140475 h 1144840"/>
                <a:gd name="csX8" fmla="*/ 181395 w 579045"/>
                <a:gd name="csY8" fmla="*/ 1141153 h 1144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579045" h="1144840">
                  <a:moveTo>
                    <a:pt x="181395" y="1141153"/>
                  </a:moveTo>
                  <a:cubicBezTo>
                    <a:pt x="128665" y="1147420"/>
                    <a:pt x="77696" y="1144105"/>
                    <a:pt x="21859" y="1142706"/>
                  </a:cubicBezTo>
                  <a:lnTo>
                    <a:pt x="198229" y="141304"/>
                  </a:lnTo>
                  <a:lnTo>
                    <a:pt x="0" y="138507"/>
                  </a:lnTo>
                  <a:lnTo>
                    <a:pt x="24500" y="104"/>
                  </a:lnTo>
                  <a:lnTo>
                    <a:pt x="579045" y="0"/>
                  </a:lnTo>
                  <a:lnTo>
                    <a:pt x="555944" y="138817"/>
                  </a:lnTo>
                  <a:lnTo>
                    <a:pt x="358802" y="140475"/>
                  </a:lnTo>
                  <a:lnTo>
                    <a:pt x="181395" y="1141153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00DBDE7-9D13-E110-CA1B-BE6D520FCE42}"/>
                </a:ext>
              </a:extLst>
            </p:cNvPr>
            <p:cNvSpPr/>
            <p:nvPr/>
          </p:nvSpPr>
          <p:spPr>
            <a:xfrm>
              <a:off x="3441327" y="1778718"/>
              <a:ext cx="241470" cy="562294"/>
            </a:xfrm>
            <a:custGeom>
              <a:avLst/>
              <a:gdLst>
                <a:gd name="csX0" fmla="*/ 491404 w 491403"/>
                <a:gd name="csY0" fmla="*/ 997452 h 1144298"/>
                <a:gd name="csX1" fmla="*/ 466075 w 491403"/>
                <a:gd name="csY1" fmla="*/ 1144299 h 1144298"/>
                <a:gd name="csX2" fmla="*/ 0 w 491403"/>
                <a:gd name="csY2" fmla="*/ 1143677 h 1144298"/>
                <a:gd name="csX3" fmla="*/ 200457 w 491403"/>
                <a:gd name="csY3" fmla="*/ 1385 h 1144298"/>
                <a:gd name="csX4" fmla="*/ 360874 w 491403"/>
                <a:gd name="csY4" fmla="*/ 2887 h 1144298"/>
                <a:gd name="csX5" fmla="*/ 186471 w 491403"/>
                <a:gd name="csY5" fmla="*/ 994914 h 1144298"/>
                <a:gd name="csX6" fmla="*/ 491404 w 491403"/>
                <a:gd name="csY6" fmla="*/ 997504 h 11442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491403" h="1144298">
                  <a:moveTo>
                    <a:pt x="491404" y="997452"/>
                  </a:moveTo>
                  <a:lnTo>
                    <a:pt x="466075" y="1144299"/>
                  </a:lnTo>
                  <a:lnTo>
                    <a:pt x="0" y="1143677"/>
                  </a:lnTo>
                  <a:lnTo>
                    <a:pt x="200457" y="1385"/>
                  </a:lnTo>
                  <a:cubicBezTo>
                    <a:pt x="255776" y="608"/>
                    <a:pt x="307108" y="-1982"/>
                    <a:pt x="360874" y="2887"/>
                  </a:cubicBezTo>
                  <a:lnTo>
                    <a:pt x="186471" y="994914"/>
                  </a:lnTo>
                  <a:lnTo>
                    <a:pt x="491404" y="997504"/>
                  </a:lnTo>
                  <a:close/>
                </a:path>
              </a:pathLst>
            </a:custGeom>
            <a:grpFill/>
            <a:ln w="5174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15" name="Graphic 2">
              <a:extLst>
                <a:ext uri="{FF2B5EF4-FFF2-40B4-BE49-F238E27FC236}">
                  <a16:creationId xmlns:a16="http://schemas.microsoft.com/office/drawing/2014/main" id="{C587000E-ECF5-469A-D894-CD85AF8D01F1}"/>
                </a:ext>
              </a:extLst>
            </p:cNvPr>
            <p:cNvGrpSpPr/>
            <p:nvPr/>
          </p:nvGrpSpPr>
          <p:grpSpPr>
            <a:xfrm>
              <a:off x="2766296" y="1778657"/>
              <a:ext cx="622739" cy="562895"/>
              <a:chOff x="-7175101" y="7155869"/>
              <a:chExt cx="1267307" cy="1145521"/>
            </a:xfrm>
            <a:grpFill/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grpSpPr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A71D91E0-472F-BEEA-C94B-0A57F73B7877}"/>
                  </a:ext>
                </a:extLst>
              </p:cNvPr>
              <p:cNvSpPr/>
              <p:nvPr/>
            </p:nvSpPr>
            <p:spPr>
              <a:xfrm>
                <a:off x="-6558243" y="7157585"/>
                <a:ext cx="650449" cy="1143805"/>
              </a:xfrm>
              <a:custGeom>
                <a:avLst/>
                <a:gdLst>
                  <a:gd name="csX0" fmla="*/ 494822 w 650449"/>
                  <a:gd name="csY0" fmla="*/ 1142655 h 1143805"/>
                  <a:gd name="csX1" fmla="*/ 490575 w 650449"/>
                  <a:gd name="csY1" fmla="*/ 874343 h 1143805"/>
                  <a:gd name="csX2" fmla="*/ 254430 w 650449"/>
                  <a:gd name="csY2" fmla="*/ 874343 h 1143805"/>
                  <a:gd name="csX3" fmla="*/ 157879 w 650449"/>
                  <a:gd name="csY3" fmla="*/ 1141722 h 1143805"/>
                  <a:gd name="csX4" fmla="*/ 0 w 650449"/>
                  <a:gd name="csY4" fmla="*/ 1140376 h 1143805"/>
                  <a:gd name="csX5" fmla="*/ 426657 w 650449"/>
                  <a:gd name="csY5" fmla="*/ 0 h 1143805"/>
                  <a:gd name="csX6" fmla="*/ 622555 w 650449"/>
                  <a:gd name="csY6" fmla="*/ 673 h 1143805"/>
                  <a:gd name="csX7" fmla="*/ 642186 w 650449"/>
                  <a:gd name="csY7" fmla="*/ 728222 h 1143805"/>
                  <a:gd name="csX8" fmla="*/ 644621 w 650449"/>
                  <a:gd name="csY8" fmla="*/ 897600 h 1143805"/>
                  <a:gd name="csX9" fmla="*/ 648661 w 650449"/>
                  <a:gd name="csY9" fmla="*/ 1142033 h 1143805"/>
                  <a:gd name="csX10" fmla="*/ 494822 w 650449"/>
                  <a:gd name="csY10" fmla="*/ 1142655 h 1143805"/>
                  <a:gd name="csX11" fmla="*/ 491663 w 650449"/>
                  <a:gd name="csY11" fmla="*/ 734749 h 1143805"/>
                  <a:gd name="csX12" fmla="*/ 490316 w 650449"/>
                  <a:gd name="csY12" fmla="*/ 457580 h 1143805"/>
                  <a:gd name="csX13" fmla="*/ 485136 w 650449"/>
                  <a:gd name="csY13" fmla="*/ 223455 h 1143805"/>
                  <a:gd name="csX14" fmla="*/ 303534 w 650449"/>
                  <a:gd name="csY14" fmla="*/ 735629 h 1143805"/>
                  <a:gd name="csX15" fmla="*/ 491663 w 650449"/>
                  <a:gd name="csY15" fmla="*/ 734801 h 114380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650449" h="1143805">
                    <a:moveTo>
                      <a:pt x="494822" y="1142655"/>
                    </a:moveTo>
                    <a:lnTo>
                      <a:pt x="490575" y="874343"/>
                    </a:lnTo>
                    <a:lnTo>
                      <a:pt x="254430" y="874343"/>
                    </a:lnTo>
                    <a:cubicBezTo>
                      <a:pt x="254430" y="874343"/>
                      <a:pt x="157879" y="1141722"/>
                      <a:pt x="157879" y="1141722"/>
                    </a:cubicBezTo>
                    <a:cubicBezTo>
                      <a:pt x="105304" y="1143432"/>
                      <a:pt x="54802" y="1145970"/>
                      <a:pt x="0" y="1140376"/>
                    </a:cubicBezTo>
                    <a:lnTo>
                      <a:pt x="426657" y="0"/>
                    </a:lnTo>
                    <a:lnTo>
                      <a:pt x="622555" y="673"/>
                    </a:lnTo>
                    <a:lnTo>
                      <a:pt x="642186" y="728222"/>
                    </a:lnTo>
                    <a:lnTo>
                      <a:pt x="644621" y="897600"/>
                    </a:lnTo>
                    <a:cubicBezTo>
                      <a:pt x="645812" y="980010"/>
                      <a:pt x="653996" y="1059157"/>
                      <a:pt x="648661" y="1142033"/>
                    </a:cubicBezTo>
                    <a:lnTo>
                      <a:pt x="494822" y="1142655"/>
                    </a:lnTo>
                    <a:close/>
                    <a:moveTo>
                      <a:pt x="491663" y="734749"/>
                    </a:moveTo>
                    <a:lnTo>
                      <a:pt x="490316" y="457580"/>
                    </a:lnTo>
                    <a:lnTo>
                      <a:pt x="485136" y="223455"/>
                    </a:lnTo>
                    <a:lnTo>
                      <a:pt x="303534" y="735629"/>
                    </a:lnTo>
                    <a:cubicBezTo>
                      <a:pt x="367400" y="738219"/>
                      <a:pt x="429298" y="740084"/>
                      <a:pt x="491663" y="73480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54DCD425-BCD9-F962-6A45-93EFBDFBCF6F}"/>
                  </a:ext>
                </a:extLst>
              </p:cNvPr>
              <p:cNvSpPr/>
              <p:nvPr/>
            </p:nvSpPr>
            <p:spPr>
              <a:xfrm>
                <a:off x="-7175101" y="7155869"/>
                <a:ext cx="488059" cy="1144837"/>
              </a:xfrm>
              <a:custGeom>
                <a:avLst/>
                <a:gdLst>
                  <a:gd name="csX0" fmla="*/ 487881 w 488059"/>
                  <a:gd name="csY0" fmla="*/ 996437 h 1144837"/>
                  <a:gd name="csX1" fmla="*/ 465919 w 488059"/>
                  <a:gd name="csY1" fmla="*/ 1144837 h 1144837"/>
                  <a:gd name="csX2" fmla="*/ 0 w 488059"/>
                  <a:gd name="csY2" fmla="*/ 1143387 h 1144837"/>
                  <a:gd name="csX3" fmla="*/ 201078 w 488059"/>
                  <a:gd name="csY3" fmla="*/ 2545 h 1144837"/>
                  <a:gd name="csX4" fmla="*/ 360822 w 488059"/>
                  <a:gd name="csY4" fmla="*/ 2545 h 1144837"/>
                  <a:gd name="csX5" fmla="*/ 187093 w 488059"/>
                  <a:gd name="csY5" fmla="*/ 995453 h 1144837"/>
                  <a:gd name="csX6" fmla="*/ 487830 w 488059"/>
                  <a:gd name="csY6" fmla="*/ 996385 h 114483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88059" h="1144837">
                    <a:moveTo>
                      <a:pt x="487881" y="996437"/>
                    </a:moveTo>
                    <a:cubicBezTo>
                      <a:pt x="489850" y="1047043"/>
                      <a:pt x="475087" y="1092988"/>
                      <a:pt x="465919" y="1144837"/>
                    </a:cubicBezTo>
                    <a:lnTo>
                      <a:pt x="0" y="1143387"/>
                    </a:lnTo>
                    <a:lnTo>
                      <a:pt x="201078" y="2545"/>
                    </a:lnTo>
                    <a:cubicBezTo>
                      <a:pt x="254792" y="-926"/>
                      <a:pt x="307263" y="-770"/>
                      <a:pt x="360822" y="2545"/>
                    </a:cubicBezTo>
                    <a:lnTo>
                      <a:pt x="187093" y="995453"/>
                    </a:lnTo>
                    <a:lnTo>
                      <a:pt x="487830" y="99638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CBDCA5B4-8646-0B15-0CFB-16095B99413F}"/>
                  </a:ext>
                </a:extLst>
              </p:cNvPr>
              <p:cNvSpPr/>
              <p:nvPr/>
            </p:nvSpPr>
            <p:spPr>
              <a:xfrm>
                <a:off x="-6601235" y="7157015"/>
                <a:ext cx="217653" cy="389828"/>
              </a:xfrm>
              <a:custGeom>
                <a:avLst/>
                <a:gdLst>
                  <a:gd name="csX0" fmla="*/ 61380 w 217653"/>
                  <a:gd name="csY0" fmla="*/ 389829 h 389828"/>
                  <a:gd name="csX1" fmla="*/ 0 w 217653"/>
                  <a:gd name="csY1" fmla="*/ 357714 h 389828"/>
                  <a:gd name="csX2" fmla="*/ 90542 w 217653"/>
                  <a:gd name="csY2" fmla="*/ 189890 h 389828"/>
                  <a:gd name="csX3" fmla="*/ 24915 w 217653"/>
                  <a:gd name="csY3" fmla="*/ 183208 h 389828"/>
                  <a:gd name="csX4" fmla="*/ 56356 w 217653"/>
                  <a:gd name="csY4" fmla="*/ 0 h 389828"/>
                  <a:gd name="csX5" fmla="*/ 217653 w 217653"/>
                  <a:gd name="csY5" fmla="*/ 1243 h 389828"/>
                  <a:gd name="csX6" fmla="*/ 188284 w 217653"/>
                  <a:gd name="csY6" fmla="*/ 158190 h 389828"/>
                  <a:gd name="csX7" fmla="*/ 61380 w 217653"/>
                  <a:gd name="csY7" fmla="*/ 389829 h 3898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17653" h="389828">
                    <a:moveTo>
                      <a:pt x="61380" y="389829"/>
                    </a:moveTo>
                    <a:cubicBezTo>
                      <a:pt x="36310" y="383924"/>
                      <a:pt x="21444" y="371492"/>
                      <a:pt x="0" y="357714"/>
                    </a:cubicBezTo>
                    <a:cubicBezTo>
                      <a:pt x="39884" y="305865"/>
                      <a:pt x="70238" y="253135"/>
                      <a:pt x="90542" y="189890"/>
                    </a:cubicBezTo>
                    <a:lnTo>
                      <a:pt x="24915" y="183208"/>
                    </a:lnTo>
                    <a:lnTo>
                      <a:pt x="56356" y="0"/>
                    </a:lnTo>
                    <a:lnTo>
                      <a:pt x="217653" y="1243"/>
                    </a:lnTo>
                    <a:lnTo>
                      <a:pt x="188284" y="158190"/>
                    </a:lnTo>
                    <a:cubicBezTo>
                      <a:pt x="171916" y="245624"/>
                      <a:pt x="122812" y="320938"/>
                      <a:pt x="61380" y="38982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1A82C65-B590-CD11-6090-8386F83192D5}"/>
                </a:ext>
              </a:extLst>
            </p:cNvPr>
            <p:cNvGrpSpPr/>
            <p:nvPr/>
          </p:nvGrpSpPr>
          <p:grpSpPr>
            <a:xfrm>
              <a:off x="4101489" y="2472911"/>
              <a:ext cx="2221394" cy="1101972"/>
              <a:chOff x="-4457913" y="8568712"/>
              <a:chExt cx="4520652" cy="2242570"/>
            </a:xfrm>
            <a:grpFill/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8CC9A8F1-D4D1-BD20-5E27-1712213AC3D4}"/>
                  </a:ext>
                </a:extLst>
              </p:cNvPr>
              <p:cNvSpPr/>
              <p:nvPr/>
            </p:nvSpPr>
            <p:spPr>
              <a:xfrm>
                <a:off x="-2640993" y="8568712"/>
                <a:ext cx="372832" cy="626840"/>
              </a:xfrm>
              <a:custGeom>
                <a:avLst/>
                <a:gdLst>
                  <a:gd name="csX0" fmla="*/ 44178 w 372832"/>
                  <a:gd name="csY0" fmla="*/ 617785 h 626840"/>
                  <a:gd name="csX1" fmla="*/ 719 w 372832"/>
                  <a:gd name="csY1" fmla="*/ 544802 h 626840"/>
                  <a:gd name="csX2" fmla="*/ 52879 w 372832"/>
                  <a:gd name="csY2" fmla="*/ 211122 h 626840"/>
                  <a:gd name="csX3" fmla="*/ 135497 w 372832"/>
                  <a:gd name="csY3" fmla="*/ 135601 h 626840"/>
                  <a:gd name="csX4" fmla="*/ 286331 w 372832"/>
                  <a:gd name="csY4" fmla="*/ 173154 h 626840"/>
                  <a:gd name="csX5" fmla="*/ 317462 w 372832"/>
                  <a:gd name="csY5" fmla="*/ 10199 h 626840"/>
                  <a:gd name="csX6" fmla="*/ 372833 w 372832"/>
                  <a:gd name="csY6" fmla="*/ 8334 h 626840"/>
                  <a:gd name="csX7" fmla="*/ 276127 w 372832"/>
                  <a:gd name="csY7" fmla="*/ 610688 h 626840"/>
                  <a:gd name="csX8" fmla="*/ 228629 w 372832"/>
                  <a:gd name="csY8" fmla="*/ 613848 h 626840"/>
                  <a:gd name="csX9" fmla="*/ 226660 w 372832"/>
                  <a:gd name="csY9" fmla="*/ 583443 h 626840"/>
                  <a:gd name="csX10" fmla="*/ 44178 w 372832"/>
                  <a:gd name="csY10" fmla="*/ 617681 h 626840"/>
                  <a:gd name="csX11" fmla="*/ 234171 w 372832"/>
                  <a:gd name="csY11" fmla="*/ 512221 h 626840"/>
                  <a:gd name="csX12" fmla="*/ 277267 w 372832"/>
                  <a:gd name="csY12" fmla="*/ 240284 h 626840"/>
                  <a:gd name="csX13" fmla="*/ 251212 w 372832"/>
                  <a:gd name="csY13" fmla="*/ 192164 h 626840"/>
                  <a:gd name="csX14" fmla="*/ 109598 w 372832"/>
                  <a:gd name="csY14" fmla="*/ 223294 h 626840"/>
                  <a:gd name="csX15" fmla="*/ 60960 w 372832"/>
                  <a:gd name="csY15" fmla="*/ 532163 h 626840"/>
                  <a:gd name="csX16" fmla="*/ 68471 w 372832"/>
                  <a:gd name="csY16" fmla="*/ 561843 h 626840"/>
                  <a:gd name="csX17" fmla="*/ 94784 w 372832"/>
                  <a:gd name="csY17" fmla="*/ 571840 h 626840"/>
                  <a:gd name="csX18" fmla="*/ 234171 w 372832"/>
                  <a:gd name="csY18" fmla="*/ 512169 h 6268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372832" h="626840">
                    <a:moveTo>
                      <a:pt x="44178" y="617785"/>
                    </a:moveTo>
                    <a:cubicBezTo>
                      <a:pt x="14912" y="609238"/>
                      <a:pt x="-3994" y="574844"/>
                      <a:pt x="719" y="544802"/>
                    </a:cubicBezTo>
                    <a:lnTo>
                      <a:pt x="52879" y="211122"/>
                    </a:lnTo>
                    <a:cubicBezTo>
                      <a:pt x="59717" y="167508"/>
                      <a:pt x="93644" y="137362"/>
                      <a:pt x="135497" y="135601"/>
                    </a:cubicBezTo>
                    <a:cubicBezTo>
                      <a:pt x="190402" y="133322"/>
                      <a:pt x="261365" y="123894"/>
                      <a:pt x="286331" y="173154"/>
                    </a:cubicBezTo>
                    <a:lnTo>
                      <a:pt x="317462" y="10199"/>
                    </a:lnTo>
                    <a:cubicBezTo>
                      <a:pt x="320466" y="-5600"/>
                      <a:pt x="357916" y="-471"/>
                      <a:pt x="372833" y="8334"/>
                    </a:cubicBezTo>
                    <a:lnTo>
                      <a:pt x="276127" y="610688"/>
                    </a:lnTo>
                    <a:cubicBezTo>
                      <a:pt x="273848" y="624777"/>
                      <a:pt x="236036" y="622757"/>
                      <a:pt x="228629" y="613848"/>
                    </a:cubicBezTo>
                    <a:cubicBezTo>
                      <a:pt x="223190" y="607321"/>
                      <a:pt x="225469" y="593129"/>
                      <a:pt x="226660" y="583443"/>
                    </a:cubicBezTo>
                    <a:cubicBezTo>
                      <a:pt x="204129" y="634826"/>
                      <a:pt x="94318" y="632340"/>
                      <a:pt x="44178" y="617681"/>
                    </a:cubicBezTo>
                    <a:close/>
                    <a:moveTo>
                      <a:pt x="234171" y="512221"/>
                    </a:moveTo>
                    <a:lnTo>
                      <a:pt x="277267" y="240284"/>
                    </a:lnTo>
                    <a:cubicBezTo>
                      <a:pt x="280219" y="221637"/>
                      <a:pt x="269911" y="197240"/>
                      <a:pt x="251212" y="192164"/>
                    </a:cubicBezTo>
                    <a:cubicBezTo>
                      <a:pt x="220496" y="183772"/>
                      <a:pt x="117885" y="170823"/>
                      <a:pt x="109598" y="223294"/>
                    </a:cubicBezTo>
                    <a:lnTo>
                      <a:pt x="60960" y="532163"/>
                    </a:lnTo>
                    <a:cubicBezTo>
                      <a:pt x="59199" y="543351"/>
                      <a:pt x="63809" y="555265"/>
                      <a:pt x="68471" y="561843"/>
                    </a:cubicBezTo>
                    <a:cubicBezTo>
                      <a:pt x="73132" y="568421"/>
                      <a:pt x="83595" y="571581"/>
                      <a:pt x="94784" y="571840"/>
                    </a:cubicBezTo>
                    <a:cubicBezTo>
                      <a:pt x="148964" y="573238"/>
                      <a:pt x="222931" y="583080"/>
                      <a:pt x="234171" y="512169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E8D9CC78-09A6-3CB6-9DD9-B942E295906E}"/>
                  </a:ext>
                </a:extLst>
              </p:cNvPr>
              <p:cNvSpPr/>
              <p:nvPr/>
            </p:nvSpPr>
            <p:spPr>
              <a:xfrm>
                <a:off x="-3382823" y="8701870"/>
                <a:ext cx="334033" cy="493675"/>
              </a:xfrm>
              <a:custGeom>
                <a:avLst/>
                <a:gdLst>
                  <a:gd name="csX0" fmla="*/ 94406 w 334033"/>
                  <a:gd name="csY0" fmla="*/ 438164 h 493675"/>
                  <a:gd name="csX1" fmla="*/ 233379 w 334033"/>
                  <a:gd name="csY1" fmla="*/ 385330 h 493675"/>
                  <a:gd name="csX2" fmla="*/ 246639 w 334033"/>
                  <a:gd name="csY2" fmla="*/ 341872 h 493675"/>
                  <a:gd name="csX3" fmla="*/ 290615 w 334033"/>
                  <a:gd name="csY3" fmla="*/ 351403 h 493675"/>
                  <a:gd name="csX4" fmla="*/ 207687 w 334033"/>
                  <a:gd name="csY4" fmla="*/ 487268 h 493675"/>
                  <a:gd name="csX5" fmla="*/ 69129 w 334033"/>
                  <a:gd name="csY5" fmla="*/ 489650 h 493675"/>
                  <a:gd name="csX6" fmla="*/ 963 w 334033"/>
                  <a:gd name="csY6" fmla="*/ 398383 h 493675"/>
                  <a:gd name="csX7" fmla="*/ 52864 w 334033"/>
                  <a:gd name="csY7" fmla="*/ 79154 h 493675"/>
                  <a:gd name="csX8" fmla="*/ 258967 w 334033"/>
                  <a:gd name="csY8" fmla="*/ 2131 h 493675"/>
                  <a:gd name="csX9" fmla="*/ 333970 w 334033"/>
                  <a:gd name="csY9" fmla="*/ 83816 h 493675"/>
                  <a:gd name="csX10" fmla="*/ 312888 w 334033"/>
                  <a:gd name="csY10" fmla="*/ 242265 h 493675"/>
                  <a:gd name="csX11" fmla="*/ 279479 w 334033"/>
                  <a:gd name="csY11" fmla="*/ 268112 h 493675"/>
                  <a:gd name="csX12" fmla="*/ 79281 w 334033"/>
                  <a:gd name="csY12" fmla="*/ 268526 h 493675"/>
                  <a:gd name="csX13" fmla="*/ 59391 w 334033"/>
                  <a:gd name="csY13" fmla="*/ 399730 h 493675"/>
                  <a:gd name="csX14" fmla="*/ 94354 w 334033"/>
                  <a:gd name="csY14" fmla="*/ 438164 h 493675"/>
                  <a:gd name="csX15" fmla="*/ 260780 w 334033"/>
                  <a:gd name="csY15" fmla="*/ 215434 h 493675"/>
                  <a:gd name="csX16" fmla="*/ 277821 w 334033"/>
                  <a:gd name="csY16" fmla="*/ 100547 h 493675"/>
                  <a:gd name="csX17" fmla="*/ 136000 w 334033"/>
                  <a:gd name="csY17" fmla="*/ 60404 h 493675"/>
                  <a:gd name="csX18" fmla="*/ 88190 w 334033"/>
                  <a:gd name="csY18" fmla="*/ 216625 h 493675"/>
                  <a:gd name="csX19" fmla="*/ 260832 w 334033"/>
                  <a:gd name="csY19" fmla="*/ 215434 h 49367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4033" h="493675">
                    <a:moveTo>
                      <a:pt x="94406" y="438164"/>
                    </a:moveTo>
                    <a:cubicBezTo>
                      <a:pt x="152989" y="436972"/>
                      <a:pt x="220430" y="456552"/>
                      <a:pt x="233379" y="385330"/>
                    </a:cubicBezTo>
                    <a:cubicBezTo>
                      <a:pt x="235813" y="371863"/>
                      <a:pt x="234881" y="351040"/>
                      <a:pt x="246639" y="341872"/>
                    </a:cubicBezTo>
                    <a:cubicBezTo>
                      <a:pt x="255445" y="335138"/>
                      <a:pt x="283519" y="341561"/>
                      <a:pt x="290615" y="351403"/>
                    </a:cubicBezTo>
                    <a:cubicBezTo>
                      <a:pt x="289165" y="408380"/>
                      <a:pt x="274713" y="474681"/>
                      <a:pt x="207687" y="487268"/>
                    </a:cubicBezTo>
                    <a:cubicBezTo>
                      <a:pt x="161484" y="495970"/>
                      <a:pt x="115798" y="494830"/>
                      <a:pt x="69129" y="489650"/>
                    </a:cubicBezTo>
                    <a:cubicBezTo>
                      <a:pt x="22459" y="484471"/>
                      <a:pt x="-5667" y="445778"/>
                      <a:pt x="963" y="398383"/>
                    </a:cubicBezTo>
                    <a:cubicBezTo>
                      <a:pt x="16088" y="290851"/>
                      <a:pt x="31575" y="185029"/>
                      <a:pt x="52864" y="79154"/>
                    </a:cubicBezTo>
                    <a:cubicBezTo>
                      <a:pt x="71615" y="-14133"/>
                      <a:pt x="175883" y="-303"/>
                      <a:pt x="258967" y="2131"/>
                    </a:cubicBezTo>
                    <a:cubicBezTo>
                      <a:pt x="302632" y="3426"/>
                      <a:pt x="335679" y="37924"/>
                      <a:pt x="333970" y="83816"/>
                    </a:cubicBezTo>
                    <a:cubicBezTo>
                      <a:pt x="332001" y="136961"/>
                      <a:pt x="317757" y="188810"/>
                      <a:pt x="312888" y="242265"/>
                    </a:cubicBezTo>
                    <a:cubicBezTo>
                      <a:pt x="311127" y="261430"/>
                      <a:pt x="297297" y="268060"/>
                      <a:pt x="279479" y="268112"/>
                    </a:cubicBezTo>
                    <a:lnTo>
                      <a:pt x="79281" y="268526"/>
                    </a:lnTo>
                    <a:cubicBezTo>
                      <a:pt x="71408" y="313590"/>
                      <a:pt x="64726" y="355391"/>
                      <a:pt x="59391" y="399730"/>
                    </a:cubicBezTo>
                    <a:cubicBezTo>
                      <a:pt x="56853" y="420760"/>
                      <a:pt x="73946" y="437024"/>
                      <a:pt x="94354" y="438164"/>
                    </a:cubicBezTo>
                    <a:close/>
                    <a:moveTo>
                      <a:pt x="260780" y="215434"/>
                    </a:moveTo>
                    <a:lnTo>
                      <a:pt x="277821" y="100547"/>
                    </a:lnTo>
                    <a:cubicBezTo>
                      <a:pt x="293205" y="33003"/>
                      <a:pt x="166249" y="51339"/>
                      <a:pt x="136000" y="60404"/>
                    </a:cubicBezTo>
                    <a:cubicBezTo>
                      <a:pt x="96167" y="72317"/>
                      <a:pt x="96322" y="172338"/>
                      <a:pt x="88190" y="216625"/>
                    </a:cubicBezTo>
                    <a:lnTo>
                      <a:pt x="260832" y="21543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D7534C74-DE47-8153-4A55-83B11AA10864}"/>
                  </a:ext>
                </a:extLst>
              </p:cNvPr>
              <p:cNvSpPr/>
              <p:nvPr/>
            </p:nvSpPr>
            <p:spPr>
              <a:xfrm>
                <a:off x="-2262253" y="8703334"/>
                <a:ext cx="333697" cy="492222"/>
              </a:xfrm>
              <a:custGeom>
                <a:avLst/>
                <a:gdLst>
                  <a:gd name="csX0" fmla="*/ 183413 w 333697"/>
                  <a:gd name="csY0" fmla="*/ 436130 h 492222"/>
                  <a:gd name="csX1" fmla="*/ 291566 w 333697"/>
                  <a:gd name="csY1" fmla="*/ 349265 h 492222"/>
                  <a:gd name="csX2" fmla="*/ 204028 w 333697"/>
                  <a:gd name="csY2" fmla="*/ 486892 h 492222"/>
                  <a:gd name="csX3" fmla="*/ 71064 w 333697"/>
                  <a:gd name="csY3" fmla="*/ 488446 h 492222"/>
                  <a:gd name="csX4" fmla="*/ 1137 w 333697"/>
                  <a:gd name="csY4" fmla="*/ 397386 h 492222"/>
                  <a:gd name="csX5" fmla="*/ 52468 w 333697"/>
                  <a:gd name="csY5" fmla="*/ 81265 h 492222"/>
                  <a:gd name="csX6" fmla="*/ 148864 w 333697"/>
                  <a:gd name="csY6" fmla="*/ 875 h 492222"/>
                  <a:gd name="csX7" fmla="*/ 260591 w 333697"/>
                  <a:gd name="csY7" fmla="*/ 875 h 492222"/>
                  <a:gd name="csX8" fmla="*/ 333418 w 333697"/>
                  <a:gd name="csY8" fmla="*/ 87740 h 492222"/>
                  <a:gd name="csX9" fmla="*/ 310265 w 333697"/>
                  <a:gd name="csY9" fmla="*/ 249918 h 492222"/>
                  <a:gd name="csX10" fmla="*/ 287422 w 333697"/>
                  <a:gd name="csY10" fmla="*/ 266234 h 492222"/>
                  <a:gd name="csX11" fmla="*/ 80957 w 333697"/>
                  <a:gd name="csY11" fmla="*/ 267218 h 492222"/>
                  <a:gd name="csX12" fmla="*/ 96600 w 333697"/>
                  <a:gd name="csY12" fmla="*/ 436752 h 492222"/>
                  <a:gd name="csX13" fmla="*/ 183465 w 333697"/>
                  <a:gd name="csY13" fmla="*/ 436130 h 492222"/>
                  <a:gd name="csX14" fmla="*/ 260021 w 333697"/>
                  <a:gd name="csY14" fmla="*/ 214074 h 492222"/>
                  <a:gd name="csX15" fmla="*/ 277995 w 333697"/>
                  <a:gd name="csY15" fmla="*/ 97322 h 492222"/>
                  <a:gd name="csX16" fmla="*/ 244223 w 333697"/>
                  <a:gd name="csY16" fmla="*/ 53294 h 492222"/>
                  <a:gd name="csX17" fmla="*/ 104629 w 333697"/>
                  <a:gd name="csY17" fmla="*/ 106594 h 492222"/>
                  <a:gd name="csX18" fmla="*/ 88520 w 333697"/>
                  <a:gd name="csY18" fmla="*/ 215524 h 492222"/>
                  <a:gd name="csX19" fmla="*/ 260021 w 333697"/>
                  <a:gd name="csY19" fmla="*/ 214074 h 49222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333697" h="492222">
                    <a:moveTo>
                      <a:pt x="183413" y="436130"/>
                    </a:moveTo>
                    <a:cubicBezTo>
                      <a:pt x="269293" y="427066"/>
                      <a:pt x="199418" y="298297"/>
                      <a:pt x="291566" y="349265"/>
                    </a:cubicBezTo>
                    <a:cubicBezTo>
                      <a:pt x="290323" y="409610"/>
                      <a:pt x="274525" y="475600"/>
                      <a:pt x="204028" y="486892"/>
                    </a:cubicBezTo>
                    <a:cubicBezTo>
                      <a:pt x="159586" y="493988"/>
                      <a:pt x="115765" y="493470"/>
                      <a:pt x="71064" y="488446"/>
                    </a:cubicBezTo>
                    <a:cubicBezTo>
                      <a:pt x="26363" y="483421"/>
                      <a:pt x="-6632" y="445143"/>
                      <a:pt x="1137" y="397386"/>
                    </a:cubicBezTo>
                    <a:lnTo>
                      <a:pt x="52468" y="81265"/>
                    </a:lnTo>
                    <a:cubicBezTo>
                      <a:pt x="60394" y="32316"/>
                      <a:pt x="101935" y="2222"/>
                      <a:pt x="148864" y="875"/>
                    </a:cubicBezTo>
                    <a:cubicBezTo>
                      <a:pt x="186883" y="-213"/>
                      <a:pt x="223038" y="-368"/>
                      <a:pt x="260591" y="875"/>
                    </a:cubicBezTo>
                    <a:cubicBezTo>
                      <a:pt x="307779" y="2377"/>
                      <a:pt x="336889" y="40138"/>
                      <a:pt x="333418" y="87740"/>
                    </a:cubicBezTo>
                    <a:cubicBezTo>
                      <a:pt x="329378" y="142800"/>
                      <a:pt x="319951" y="195893"/>
                      <a:pt x="310265" y="249918"/>
                    </a:cubicBezTo>
                    <a:cubicBezTo>
                      <a:pt x="308556" y="259552"/>
                      <a:pt x="296539" y="266182"/>
                      <a:pt x="287422" y="266234"/>
                    </a:cubicBezTo>
                    <a:lnTo>
                      <a:pt x="80957" y="267218"/>
                    </a:lnTo>
                    <a:cubicBezTo>
                      <a:pt x="77228" y="318860"/>
                      <a:pt x="28538" y="434162"/>
                      <a:pt x="96600" y="436752"/>
                    </a:cubicBezTo>
                    <a:cubicBezTo>
                      <a:pt x="124364" y="437788"/>
                      <a:pt x="152075" y="439445"/>
                      <a:pt x="183465" y="436130"/>
                    </a:cubicBezTo>
                    <a:close/>
                    <a:moveTo>
                      <a:pt x="260021" y="214074"/>
                    </a:moveTo>
                    <a:lnTo>
                      <a:pt x="277995" y="97322"/>
                    </a:lnTo>
                    <a:cubicBezTo>
                      <a:pt x="281621" y="74324"/>
                      <a:pt x="267998" y="55263"/>
                      <a:pt x="244223" y="53294"/>
                    </a:cubicBezTo>
                    <a:cubicBezTo>
                      <a:pt x="183983" y="48270"/>
                      <a:pt x="115506" y="39775"/>
                      <a:pt x="104629" y="106594"/>
                    </a:cubicBezTo>
                    <a:cubicBezTo>
                      <a:pt x="98413" y="144717"/>
                      <a:pt x="92301" y="178541"/>
                      <a:pt x="88520" y="215524"/>
                    </a:cubicBezTo>
                    <a:lnTo>
                      <a:pt x="260021" y="214074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404C3F59-B4C9-0F55-42B8-452EE4A4BE2C}"/>
                  </a:ext>
                </a:extLst>
              </p:cNvPr>
              <p:cNvSpPr/>
              <p:nvPr/>
            </p:nvSpPr>
            <p:spPr>
              <a:xfrm>
                <a:off x="-1004577" y="8703846"/>
                <a:ext cx="335934" cy="492507"/>
              </a:xfrm>
              <a:custGeom>
                <a:avLst/>
                <a:gdLst>
                  <a:gd name="csX0" fmla="*/ 286407 w 335934"/>
                  <a:gd name="csY0" fmla="*/ 405006 h 492507"/>
                  <a:gd name="csX1" fmla="*/ 74192 w 335934"/>
                  <a:gd name="csY1" fmla="*/ 488556 h 492507"/>
                  <a:gd name="csX2" fmla="*/ 1210 w 335934"/>
                  <a:gd name="csY2" fmla="*/ 396407 h 492507"/>
                  <a:gd name="csX3" fmla="*/ 51660 w 335934"/>
                  <a:gd name="csY3" fmla="*/ 82721 h 492507"/>
                  <a:gd name="csX4" fmla="*/ 146864 w 335934"/>
                  <a:gd name="csY4" fmla="*/ 415 h 492507"/>
                  <a:gd name="csX5" fmla="*/ 259472 w 335934"/>
                  <a:gd name="csY5" fmla="*/ 1 h 492507"/>
                  <a:gd name="csX6" fmla="*/ 318418 w 335934"/>
                  <a:gd name="csY6" fmla="*/ 26469 h 492507"/>
                  <a:gd name="csX7" fmla="*/ 334734 w 335934"/>
                  <a:gd name="csY7" fmla="*/ 100333 h 492507"/>
                  <a:gd name="csX8" fmla="*/ 286407 w 335934"/>
                  <a:gd name="csY8" fmla="*/ 405058 h 492507"/>
                  <a:gd name="csX9" fmla="*/ 231813 w 335934"/>
                  <a:gd name="csY9" fmla="*/ 388483 h 492507"/>
                  <a:gd name="csX10" fmla="*/ 278896 w 335934"/>
                  <a:gd name="csY10" fmla="*/ 94065 h 492507"/>
                  <a:gd name="csX11" fmla="*/ 247404 w 335934"/>
                  <a:gd name="csY11" fmla="*/ 52990 h 492507"/>
                  <a:gd name="csX12" fmla="*/ 105219 w 335934"/>
                  <a:gd name="csY12" fmla="*/ 102922 h 492507"/>
                  <a:gd name="csX13" fmla="*/ 60207 w 335934"/>
                  <a:gd name="csY13" fmla="*/ 395216 h 492507"/>
                  <a:gd name="csX14" fmla="*/ 100609 w 335934"/>
                  <a:gd name="csY14" fmla="*/ 436861 h 492507"/>
                  <a:gd name="csX15" fmla="*/ 231813 w 335934"/>
                  <a:gd name="csY15" fmla="*/ 388431 h 492507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</a:cxnLst>
                <a:rect l="l" t="t" r="r" b="b"/>
                <a:pathLst>
                  <a:path w="335934" h="492507">
                    <a:moveTo>
                      <a:pt x="286407" y="405006"/>
                    </a:moveTo>
                    <a:cubicBezTo>
                      <a:pt x="268589" y="503577"/>
                      <a:pt x="158208" y="495963"/>
                      <a:pt x="74192" y="488556"/>
                    </a:cubicBezTo>
                    <a:cubicBezTo>
                      <a:pt x="26901" y="484411"/>
                      <a:pt x="-6923" y="446651"/>
                      <a:pt x="1210" y="396407"/>
                    </a:cubicBezTo>
                    <a:lnTo>
                      <a:pt x="51660" y="82721"/>
                    </a:lnTo>
                    <a:cubicBezTo>
                      <a:pt x="59637" y="33099"/>
                      <a:pt x="98589" y="622"/>
                      <a:pt x="146864" y="415"/>
                    </a:cubicBezTo>
                    <a:lnTo>
                      <a:pt x="259472" y="1"/>
                    </a:lnTo>
                    <a:cubicBezTo>
                      <a:pt x="284284" y="-103"/>
                      <a:pt x="305935" y="11655"/>
                      <a:pt x="318418" y="26469"/>
                    </a:cubicBezTo>
                    <a:cubicBezTo>
                      <a:pt x="334734" y="45790"/>
                      <a:pt x="338152" y="73346"/>
                      <a:pt x="334734" y="100333"/>
                    </a:cubicBezTo>
                    <a:cubicBezTo>
                      <a:pt x="321733" y="203410"/>
                      <a:pt x="304743" y="303534"/>
                      <a:pt x="286407" y="405058"/>
                    </a:cubicBezTo>
                    <a:close/>
                    <a:moveTo>
                      <a:pt x="231813" y="388483"/>
                    </a:moveTo>
                    <a:lnTo>
                      <a:pt x="278896" y="94065"/>
                    </a:lnTo>
                    <a:cubicBezTo>
                      <a:pt x="277084" y="72414"/>
                      <a:pt x="269003" y="55994"/>
                      <a:pt x="247404" y="52990"/>
                    </a:cubicBezTo>
                    <a:cubicBezTo>
                      <a:pt x="193586" y="50762"/>
                      <a:pt x="115682" y="35171"/>
                      <a:pt x="105219" y="102922"/>
                    </a:cubicBezTo>
                    <a:lnTo>
                      <a:pt x="60207" y="395216"/>
                    </a:lnTo>
                    <a:cubicBezTo>
                      <a:pt x="56426" y="419872"/>
                      <a:pt x="77870" y="437017"/>
                      <a:pt x="100609" y="436861"/>
                    </a:cubicBezTo>
                    <a:cubicBezTo>
                      <a:pt x="152614" y="436447"/>
                      <a:pt x="221919" y="450381"/>
                      <a:pt x="231813" y="388431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459B767F-89EF-B62B-404C-40329F2D983F}"/>
                  </a:ext>
                </a:extLst>
              </p:cNvPr>
              <p:cNvSpPr/>
              <p:nvPr/>
            </p:nvSpPr>
            <p:spPr>
              <a:xfrm>
                <a:off x="-264032" y="8702088"/>
                <a:ext cx="326771" cy="494430"/>
              </a:xfrm>
              <a:custGeom>
                <a:avLst/>
                <a:gdLst>
                  <a:gd name="csX0" fmla="*/ 280508 w 326771"/>
                  <a:gd name="csY0" fmla="*/ 423390 h 494430"/>
                  <a:gd name="csX1" fmla="*/ 70106 w 326771"/>
                  <a:gd name="csY1" fmla="*/ 489536 h 494430"/>
                  <a:gd name="csX2" fmla="*/ 386 w 326771"/>
                  <a:gd name="csY2" fmla="*/ 418003 h 494430"/>
                  <a:gd name="csX3" fmla="*/ 13698 w 326771"/>
                  <a:gd name="csY3" fmla="*/ 335853 h 494430"/>
                  <a:gd name="csX4" fmla="*/ 57933 w 326771"/>
                  <a:gd name="csY4" fmla="*/ 329637 h 494430"/>
                  <a:gd name="csX5" fmla="*/ 62388 w 326771"/>
                  <a:gd name="csY5" fmla="*/ 421785 h 494430"/>
                  <a:gd name="csX6" fmla="*/ 96211 w 326771"/>
                  <a:gd name="csY6" fmla="*/ 438360 h 494430"/>
                  <a:gd name="csX7" fmla="*/ 226690 w 326771"/>
                  <a:gd name="csY7" fmla="*/ 403500 h 494430"/>
                  <a:gd name="csX8" fmla="*/ 209545 w 326771"/>
                  <a:gd name="csY8" fmla="*/ 268619 h 494430"/>
                  <a:gd name="csX9" fmla="*/ 115739 w 326771"/>
                  <a:gd name="csY9" fmla="*/ 267013 h 494430"/>
                  <a:gd name="csX10" fmla="*/ 40425 w 326771"/>
                  <a:gd name="csY10" fmla="*/ 176989 h 494430"/>
                  <a:gd name="csX11" fmla="*/ 149563 w 326771"/>
                  <a:gd name="csY11" fmla="*/ 2380 h 494430"/>
                  <a:gd name="csX12" fmla="*/ 324380 w 326771"/>
                  <a:gd name="csY12" fmla="*/ 63345 h 494430"/>
                  <a:gd name="csX13" fmla="*/ 316403 w 326771"/>
                  <a:gd name="csY13" fmla="*/ 144253 h 494430"/>
                  <a:gd name="csX14" fmla="*/ 272790 w 326771"/>
                  <a:gd name="csY14" fmla="*/ 152852 h 494430"/>
                  <a:gd name="csX15" fmla="*/ 247409 w 326771"/>
                  <a:gd name="csY15" fmla="*/ 57233 h 494430"/>
                  <a:gd name="csX16" fmla="*/ 158472 w 326771"/>
                  <a:gd name="csY16" fmla="*/ 54643 h 494430"/>
                  <a:gd name="csX17" fmla="*/ 98491 w 326771"/>
                  <a:gd name="csY17" fmla="*/ 170877 h 494430"/>
                  <a:gd name="csX18" fmla="*/ 140758 w 326771"/>
                  <a:gd name="csY18" fmla="*/ 216563 h 494430"/>
                  <a:gd name="csX19" fmla="*/ 235858 w 326771"/>
                  <a:gd name="csY19" fmla="*/ 217650 h 494430"/>
                  <a:gd name="csX20" fmla="*/ 301175 w 326771"/>
                  <a:gd name="csY20" fmla="*/ 304411 h 494430"/>
                  <a:gd name="csX21" fmla="*/ 280508 w 326771"/>
                  <a:gd name="csY21" fmla="*/ 423390 h 49443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326771" h="494430">
                    <a:moveTo>
                      <a:pt x="280508" y="423390"/>
                    </a:moveTo>
                    <a:cubicBezTo>
                      <a:pt x="257665" y="505541"/>
                      <a:pt x="141897" y="497823"/>
                      <a:pt x="70106" y="489536"/>
                    </a:cubicBezTo>
                    <a:cubicBezTo>
                      <a:pt x="32190" y="485133"/>
                      <a:pt x="2976" y="457939"/>
                      <a:pt x="386" y="418003"/>
                    </a:cubicBezTo>
                    <a:cubicBezTo>
                      <a:pt x="-1323" y="391638"/>
                      <a:pt x="2562" y="358488"/>
                      <a:pt x="13698" y="335853"/>
                    </a:cubicBezTo>
                    <a:cubicBezTo>
                      <a:pt x="20587" y="327099"/>
                      <a:pt x="50371" y="321712"/>
                      <a:pt x="57933" y="329637"/>
                    </a:cubicBezTo>
                    <a:cubicBezTo>
                      <a:pt x="75492" y="353153"/>
                      <a:pt x="44984" y="392830"/>
                      <a:pt x="62388" y="421785"/>
                    </a:cubicBezTo>
                    <a:cubicBezTo>
                      <a:pt x="67878" y="430849"/>
                      <a:pt x="81087" y="437945"/>
                      <a:pt x="96211" y="438360"/>
                    </a:cubicBezTo>
                    <a:cubicBezTo>
                      <a:pt x="141586" y="439707"/>
                      <a:pt x="213585" y="448719"/>
                      <a:pt x="226690" y="403500"/>
                    </a:cubicBezTo>
                    <a:cubicBezTo>
                      <a:pt x="237101" y="367604"/>
                      <a:pt x="264813" y="269603"/>
                      <a:pt x="209545" y="268619"/>
                    </a:cubicBezTo>
                    <a:lnTo>
                      <a:pt x="115739" y="267013"/>
                    </a:lnTo>
                    <a:cubicBezTo>
                      <a:pt x="66998" y="266185"/>
                      <a:pt x="35194" y="225731"/>
                      <a:pt x="40425" y="176989"/>
                    </a:cubicBezTo>
                    <a:cubicBezTo>
                      <a:pt x="48454" y="101624"/>
                      <a:pt x="55084" y="5073"/>
                      <a:pt x="149563" y="2380"/>
                    </a:cubicBezTo>
                    <a:cubicBezTo>
                      <a:pt x="215398" y="515"/>
                      <a:pt x="315160" y="-14558"/>
                      <a:pt x="324380" y="63345"/>
                    </a:cubicBezTo>
                    <a:cubicBezTo>
                      <a:pt x="327540" y="90177"/>
                      <a:pt x="329715" y="119598"/>
                      <a:pt x="316403" y="144253"/>
                    </a:cubicBezTo>
                    <a:cubicBezTo>
                      <a:pt x="310602" y="154975"/>
                      <a:pt x="282113" y="159326"/>
                      <a:pt x="272790" y="152852"/>
                    </a:cubicBezTo>
                    <a:cubicBezTo>
                      <a:pt x="250051" y="137157"/>
                      <a:pt x="297238" y="70442"/>
                      <a:pt x="247409" y="57233"/>
                    </a:cubicBezTo>
                    <a:cubicBezTo>
                      <a:pt x="218195" y="49463"/>
                      <a:pt x="188048" y="51380"/>
                      <a:pt x="158472" y="54643"/>
                    </a:cubicBezTo>
                    <a:cubicBezTo>
                      <a:pt x="108333" y="60237"/>
                      <a:pt x="103463" y="119183"/>
                      <a:pt x="98491" y="170877"/>
                    </a:cubicBezTo>
                    <a:cubicBezTo>
                      <a:pt x="95901" y="197812"/>
                      <a:pt x="114652" y="216252"/>
                      <a:pt x="140758" y="216563"/>
                    </a:cubicBezTo>
                    <a:lnTo>
                      <a:pt x="235858" y="217650"/>
                    </a:lnTo>
                    <a:cubicBezTo>
                      <a:pt x="279731" y="218168"/>
                      <a:pt x="304334" y="261419"/>
                      <a:pt x="301175" y="304411"/>
                    </a:cubicBezTo>
                    <a:cubicBezTo>
                      <a:pt x="298170" y="345435"/>
                      <a:pt x="291333" y="384490"/>
                      <a:pt x="280508" y="423390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604744FE-D86D-1996-D301-9569BADC1433}"/>
                  </a:ext>
                </a:extLst>
              </p:cNvPr>
              <p:cNvSpPr/>
              <p:nvPr/>
            </p:nvSpPr>
            <p:spPr>
              <a:xfrm>
                <a:off x="-631790" y="8705371"/>
                <a:ext cx="346751" cy="489953"/>
              </a:xfrm>
              <a:custGeom>
                <a:avLst/>
                <a:gdLst>
                  <a:gd name="csX0" fmla="*/ 346752 w 346751"/>
                  <a:gd name="csY0" fmla="*/ 8369 h 489953"/>
                  <a:gd name="csX1" fmla="*/ 272526 w 346751"/>
                  <a:gd name="csY1" fmla="*/ 471646 h 489953"/>
                  <a:gd name="csX2" fmla="*/ 225183 w 346751"/>
                  <a:gd name="csY2" fmla="*/ 477189 h 489953"/>
                  <a:gd name="csX3" fmla="*/ 220107 w 346751"/>
                  <a:gd name="csY3" fmla="*/ 446473 h 489953"/>
                  <a:gd name="csX4" fmla="*/ 57670 w 346751"/>
                  <a:gd name="csY4" fmla="*/ 485321 h 489953"/>
                  <a:gd name="csX5" fmla="*/ 692 w 346751"/>
                  <a:gd name="csY5" fmla="*/ 413581 h 489953"/>
                  <a:gd name="csX6" fmla="*/ 63108 w 346751"/>
                  <a:gd name="csY6" fmla="*/ 12461 h 489953"/>
                  <a:gd name="csX7" fmla="*/ 119361 w 346751"/>
                  <a:gd name="csY7" fmla="*/ 11217 h 489953"/>
                  <a:gd name="csX8" fmla="*/ 59948 w 346751"/>
                  <a:gd name="csY8" fmla="*/ 400943 h 489953"/>
                  <a:gd name="csX9" fmla="*/ 89059 w 346751"/>
                  <a:gd name="csY9" fmla="*/ 434714 h 489953"/>
                  <a:gd name="csX10" fmla="*/ 229689 w 346751"/>
                  <a:gd name="csY10" fmla="*/ 376442 h 489953"/>
                  <a:gd name="csX11" fmla="*/ 289878 w 346751"/>
                  <a:gd name="csY11" fmla="*/ 11994 h 489953"/>
                  <a:gd name="csX12" fmla="*/ 346752 w 346751"/>
                  <a:gd name="csY12" fmla="*/ 8317 h 48995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</a:cxnLst>
                <a:rect l="l" t="t" r="r" b="b"/>
                <a:pathLst>
                  <a:path w="346751" h="489953">
                    <a:moveTo>
                      <a:pt x="346752" y="8369"/>
                    </a:moveTo>
                    <a:lnTo>
                      <a:pt x="272526" y="471646"/>
                    </a:lnTo>
                    <a:cubicBezTo>
                      <a:pt x="269884" y="488170"/>
                      <a:pt x="227047" y="488273"/>
                      <a:pt x="225183" y="477189"/>
                    </a:cubicBezTo>
                    <a:lnTo>
                      <a:pt x="220107" y="446473"/>
                    </a:lnTo>
                    <a:cubicBezTo>
                      <a:pt x="201563" y="496198"/>
                      <a:pt x="105479" y="493505"/>
                      <a:pt x="57670" y="485321"/>
                    </a:cubicBezTo>
                    <a:cubicBezTo>
                      <a:pt x="27161" y="480089"/>
                      <a:pt x="-5161" y="451497"/>
                      <a:pt x="692" y="413581"/>
                    </a:cubicBezTo>
                    <a:lnTo>
                      <a:pt x="63108" y="12461"/>
                    </a:lnTo>
                    <a:cubicBezTo>
                      <a:pt x="68703" y="-3648"/>
                      <a:pt x="111487" y="-4218"/>
                      <a:pt x="119361" y="11217"/>
                    </a:cubicBezTo>
                    <a:lnTo>
                      <a:pt x="59948" y="400943"/>
                    </a:lnTo>
                    <a:cubicBezTo>
                      <a:pt x="56841" y="421506"/>
                      <a:pt x="71966" y="433678"/>
                      <a:pt x="89059" y="434714"/>
                    </a:cubicBezTo>
                    <a:cubicBezTo>
                      <a:pt x="147694" y="438237"/>
                      <a:pt x="218398" y="444971"/>
                      <a:pt x="229689" y="376442"/>
                    </a:cubicBezTo>
                    <a:lnTo>
                      <a:pt x="289878" y="11994"/>
                    </a:lnTo>
                    <a:cubicBezTo>
                      <a:pt x="292468" y="-3856"/>
                      <a:pt x="330487" y="-1628"/>
                      <a:pt x="346752" y="83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D6DF8C22-A293-2CB9-D96B-E1B4967135ED}"/>
                  </a:ext>
                </a:extLst>
              </p:cNvPr>
              <p:cNvSpPr/>
              <p:nvPr/>
            </p:nvSpPr>
            <p:spPr>
              <a:xfrm>
                <a:off x="-3020365" y="8702459"/>
                <a:ext cx="344688" cy="487391"/>
              </a:xfrm>
              <a:custGeom>
                <a:avLst/>
                <a:gdLst>
                  <a:gd name="csX0" fmla="*/ 285094 w 344688"/>
                  <a:gd name="csY0" fmla="*/ 88407 h 487391"/>
                  <a:gd name="csX1" fmla="*/ 160055 w 344688"/>
                  <a:gd name="csY1" fmla="*/ 57846 h 487391"/>
                  <a:gd name="csX2" fmla="*/ 114628 w 344688"/>
                  <a:gd name="csY2" fmla="*/ 115497 h 487391"/>
                  <a:gd name="csX3" fmla="*/ 54180 w 344688"/>
                  <a:gd name="csY3" fmla="*/ 479012 h 487391"/>
                  <a:gd name="csX4" fmla="*/ 0 w 344688"/>
                  <a:gd name="csY4" fmla="*/ 478753 h 487391"/>
                  <a:gd name="csX5" fmla="*/ 72361 w 344688"/>
                  <a:gd name="csY5" fmla="*/ 16408 h 487391"/>
                  <a:gd name="csX6" fmla="*/ 108930 w 344688"/>
                  <a:gd name="csY6" fmla="*/ 4495 h 487391"/>
                  <a:gd name="csX7" fmla="*/ 128821 w 344688"/>
                  <a:gd name="csY7" fmla="*/ 31067 h 487391"/>
                  <a:gd name="csX8" fmla="*/ 196831 w 344688"/>
                  <a:gd name="csY8" fmla="*/ 1439 h 487391"/>
                  <a:gd name="csX9" fmla="*/ 327102 w 344688"/>
                  <a:gd name="csY9" fmla="*/ 24437 h 487391"/>
                  <a:gd name="csX10" fmla="*/ 343522 w 344688"/>
                  <a:gd name="csY10" fmla="*/ 88977 h 487391"/>
                  <a:gd name="csX11" fmla="*/ 280950 w 344688"/>
                  <a:gd name="csY11" fmla="*/ 479375 h 487391"/>
                  <a:gd name="csX12" fmla="*/ 225268 w 344688"/>
                  <a:gd name="csY12" fmla="*/ 479789 h 487391"/>
                  <a:gd name="csX13" fmla="*/ 285042 w 344688"/>
                  <a:gd name="csY13" fmla="*/ 88355 h 48739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344688" h="487391">
                    <a:moveTo>
                      <a:pt x="285094" y="88407"/>
                    </a:moveTo>
                    <a:cubicBezTo>
                      <a:pt x="293071" y="36092"/>
                      <a:pt x="185383" y="51734"/>
                      <a:pt x="160055" y="57846"/>
                    </a:cubicBezTo>
                    <a:cubicBezTo>
                      <a:pt x="134726" y="63958"/>
                      <a:pt x="119031" y="88977"/>
                      <a:pt x="114628" y="115497"/>
                    </a:cubicBezTo>
                    <a:lnTo>
                      <a:pt x="54180" y="479012"/>
                    </a:lnTo>
                    <a:cubicBezTo>
                      <a:pt x="48534" y="491185"/>
                      <a:pt x="11085" y="489217"/>
                      <a:pt x="0" y="478753"/>
                    </a:cubicBezTo>
                    <a:lnTo>
                      <a:pt x="72361" y="16408"/>
                    </a:lnTo>
                    <a:cubicBezTo>
                      <a:pt x="74640" y="2009"/>
                      <a:pt x="98778" y="4340"/>
                      <a:pt x="108930" y="4495"/>
                    </a:cubicBezTo>
                    <a:cubicBezTo>
                      <a:pt x="121103" y="4702"/>
                      <a:pt x="123745" y="18014"/>
                      <a:pt x="128821" y="31067"/>
                    </a:cubicBezTo>
                    <a:cubicBezTo>
                      <a:pt x="149695" y="12523"/>
                      <a:pt x="170725" y="2216"/>
                      <a:pt x="196831" y="1439"/>
                    </a:cubicBezTo>
                    <a:cubicBezTo>
                      <a:pt x="243345" y="92"/>
                      <a:pt x="302135" y="-6176"/>
                      <a:pt x="327102" y="24437"/>
                    </a:cubicBezTo>
                    <a:cubicBezTo>
                      <a:pt x="341294" y="41841"/>
                      <a:pt x="347458" y="64373"/>
                      <a:pt x="343522" y="88977"/>
                    </a:cubicBezTo>
                    <a:lnTo>
                      <a:pt x="280950" y="479375"/>
                    </a:lnTo>
                    <a:cubicBezTo>
                      <a:pt x="271160" y="490563"/>
                      <a:pt x="239771" y="488699"/>
                      <a:pt x="225268" y="479789"/>
                    </a:cubicBezTo>
                    <a:lnTo>
                      <a:pt x="285042" y="88355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A49D7A54-34B2-E56B-ED61-EB025431DFB0}"/>
                  </a:ext>
                </a:extLst>
              </p:cNvPr>
              <p:cNvSpPr/>
              <p:nvPr/>
            </p:nvSpPr>
            <p:spPr>
              <a:xfrm>
                <a:off x="-1307885" y="8705380"/>
                <a:ext cx="318969" cy="484645"/>
              </a:xfrm>
              <a:custGeom>
                <a:avLst/>
                <a:gdLst>
                  <a:gd name="csX0" fmla="*/ 318969 w 318969"/>
                  <a:gd name="csY0" fmla="*/ 10017 h 484645"/>
                  <a:gd name="csX1" fmla="*/ 120171 w 318969"/>
                  <a:gd name="csY1" fmla="*/ 473812 h 484645"/>
                  <a:gd name="csX2" fmla="*/ 51124 w 318969"/>
                  <a:gd name="csY2" fmla="*/ 476402 h 484645"/>
                  <a:gd name="csX3" fmla="*/ 52 w 318969"/>
                  <a:gd name="csY3" fmla="*/ 14938 h 484645"/>
                  <a:gd name="csX4" fmla="*/ 54284 w 318969"/>
                  <a:gd name="csY4" fmla="*/ 10276 h 484645"/>
                  <a:gd name="csX5" fmla="*/ 95877 w 318969"/>
                  <a:gd name="csY5" fmla="*/ 399690 h 484645"/>
                  <a:gd name="csX6" fmla="*/ 260439 w 318969"/>
                  <a:gd name="csY6" fmla="*/ 11364 h 484645"/>
                  <a:gd name="csX7" fmla="*/ 318918 w 318969"/>
                  <a:gd name="csY7" fmla="*/ 10017 h 48464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18969" h="484645">
                    <a:moveTo>
                      <a:pt x="318969" y="10017"/>
                    </a:moveTo>
                    <a:lnTo>
                      <a:pt x="120171" y="473812"/>
                    </a:lnTo>
                    <a:cubicBezTo>
                      <a:pt x="105201" y="488885"/>
                      <a:pt x="70290" y="486762"/>
                      <a:pt x="51124" y="476402"/>
                    </a:cubicBezTo>
                    <a:lnTo>
                      <a:pt x="52" y="14938"/>
                    </a:lnTo>
                    <a:cubicBezTo>
                      <a:pt x="-1916" y="-2933"/>
                      <a:pt x="52678" y="-4797"/>
                      <a:pt x="54284" y="10276"/>
                    </a:cubicBezTo>
                    <a:lnTo>
                      <a:pt x="95877" y="399690"/>
                    </a:lnTo>
                    <a:lnTo>
                      <a:pt x="260439" y="11364"/>
                    </a:lnTo>
                    <a:cubicBezTo>
                      <a:pt x="267327" y="-4953"/>
                      <a:pt x="300167" y="-2156"/>
                      <a:pt x="318918" y="10017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DCCDBF6-60E0-9826-995B-A78473E547B2}"/>
                  </a:ext>
                </a:extLst>
              </p:cNvPr>
              <p:cNvSpPr/>
              <p:nvPr/>
            </p:nvSpPr>
            <p:spPr>
              <a:xfrm>
                <a:off x="-1927925" y="8706069"/>
                <a:ext cx="334985" cy="483274"/>
              </a:xfrm>
              <a:custGeom>
                <a:avLst/>
                <a:gdLst>
                  <a:gd name="csX0" fmla="*/ 255282 w 334985"/>
                  <a:gd name="csY0" fmla="*/ 479547 h 483274"/>
                  <a:gd name="csX1" fmla="*/ 6809 w 334985"/>
                  <a:gd name="csY1" fmla="*/ 479961 h 483274"/>
                  <a:gd name="csX2" fmla="*/ 7534 w 334985"/>
                  <a:gd name="csY2" fmla="*/ 436969 h 483274"/>
                  <a:gd name="csX3" fmla="*/ 258908 w 334985"/>
                  <a:gd name="csY3" fmla="*/ 56930 h 483274"/>
                  <a:gd name="csX4" fmla="*/ 86059 w 334985"/>
                  <a:gd name="csY4" fmla="*/ 50352 h 483274"/>
                  <a:gd name="csX5" fmla="*/ 99371 w 334985"/>
                  <a:gd name="csY5" fmla="*/ 1921 h 483274"/>
                  <a:gd name="csX6" fmla="*/ 327954 w 334985"/>
                  <a:gd name="csY6" fmla="*/ 3423 h 483274"/>
                  <a:gd name="csX7" fmla="*/ 327540 w 334985"/>
                  <a:gd name="csY7" fmla="*/ 47296 h 483274"/>
                  <a:gd name="csX8" fmla="*/ 76269 w 334985"/>
                  <a:gd name="csY8" fmla="*/ 428733 h 483274"/>
                  <a:gd name="csX9" fmla="*/ 263725 w 334985"/>
                  <a:gd name="csY9" fmla="*/ 434120 h 483274"/>
                  <a:gd name="csX10" fmla="*/ 255282 w 334985"/>
                  <a:gd name="csY10" fmla="*/ 479495 h 48327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</a:cxnLst>
                <a:rect l="l" t="t" r="r" b="b"/>
                <a:pathLst>
                  <a:path w="334985" h="483274">
                    <a:moveTo>
                      <a:pt x="255282" y="479547"/>
                    </a:moveTo>
                    <a:cubicBezTo>
                      <a:pt x="170800" y="484986"/>
                      <a:pt x="89633" y="483898"/>
                      <a:pt x="6809" y="479961"/>
                    </a:cubicBezTo>
                    <a:cubicBezTo>
                      <a:pt x="-5571" y="477060"/>
                      <a:pt x="1577" y="445930"/>
                      <a:pt x="7534" y="436969"/>
                    </a:cubicBezTo>
                    <a:lnTo>
                      <a:pt x="258908" y="56930"/>
                    </a:lnTo>
                    <a:lnTo>
                      <a:pt x="86059" y="50352"/>
                    </a:lnTo>
                    <a:cubicBezTo>
                      <a:pt x="71349" y="49782"/>
                      <a:pt x="80983" y="2232"/>
                      <a:pt x="99371" y="1921"/>
                    </a:cubicBezTo>
                    <a:cubicBezTo>
                      <a:pt x="176290" y="678"/>
                      <a:pt x="250051" y="-2378"/>
                      <a:pt x="327954" y="3423"/>
                    </a:cubicBezTo>
                    <a:cubicBezTo>
                      <a:pt x="340593" y="4356"/>
                      <a:pt x="333496" y="38231"/>
                      <a:pt x="327540" y="47296"/>
                    </a:cubicBezTo>
                    <a:lnTo>
                      <a:pt x="76269" y="428733"/>
                    </a:lnTo>
                    <a:lnTo>
                      <a:pt x="263725" y="434120"/>
                    </a:lnTo>
                    <a:cubicBezTo>
                      <a:pt x="275328" y="434431"/>
                      <a:pt x="269681" y="478614"/>
                      <a:pt x="255282" y="479495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6" name="Graphic 2">
                <a:extLst>
                  <a:ext uri="{FF2B5EF4-FFF2-40B4-BE49-F238E27FC236}">
                    <a16:creationId xmlns:a16="http://schemas.microsoft.com/office/drawing/2014/main" id="{0873A4FD-2FBB-B596-F832-41053108E00D}"/>
                  </a:ext>
                </a:extLst>
              </p:cNvPr>
              <p:cNvGrpSpPr/>
              <p:nvPr/>
            </p:nvGrpSpPr>
            <p:grpSpPr>
              <a:xfrm>
                <a:off x="-4456142" y="8578331"/>
                <a:ext cx="648106" cy="616993"/>
                <a:chOff x="-4456142" y="8578331"/>
                <a:chExt cx="648106" cy="616993"/>
              </a:xfrm>
              <a:grpFill/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3A9F67F-6958-7FED-1162-4510BFD8D433}"/>
                    </a:ext>
                  </a:extLst>
                </p:cNvPr>
                <p:cNvSpPr/>
                <p:nvPr/>
              </p:nvSpPr>
              <p:spPr>
                <a:xfrm>
                  <a:off x="-4143064" y="8702139"/>
                  <a:ext cx="335028" cy="493184"/>
                </a:xfrm>
                <a:custGeom>
                  <a:avLst/>
                  <a:gdLst>
                    <a:gd name="csX0" fmla="*/ 167655 w 335028"/>
                    <a:gd name="csY0" fmla="*/ 439086 h 493184"/>
                    <a:gd name="csX1" fmla="*/ 294300 w 335028"/>
                    <a:gd name="csY1" fmla="*/ 350874 h 493184"/>
                    <a:gd name="csX2" fmla="*/ 201997 w 335028"/>
                    <a:gd name="csY2" fmla="*/ 488397 h 493184"/>
                    <a:gd name="csX3" fmla="*/ 73487 w 335028"/>
                    <a:gd name="csY3" fmla="*/ 490313 h 493184"/>
                    <a:gd name="csX4" fmla="*/ 1074 w 335028"/>
                    <a:gd name="csY4" fmla="*/ 399253 h 493184"/>
                    <a:gd name="csX5" fmla="*/ 53182 w 335028"/>
                    <a:gd name="csY5" fmla="*/ 80646 h 493184"/>
                    <a:gd name="csX6" fmla="*/ 258974 w 335028"/>
                    <a:gd name="csY6" fmla="*/ 1862 h 493184"/>
                    <a:gd name="csX7" fmla="*/ 334236 w 335028"/>
                    <a:gd name="csY7" fmla="*/ 89090 h 493184"/>
                    <a:gd name="csX8" fmla="*/ 313155 w 335028"/>
                    <a:gd name="csY8" fmla="*/ 243653 h 493184"/>
                    <a:gd name="csX9" fmla="*/ 285184 w 335028"/>
                    <a:gd name="csY9" fmla="*/ 267429 h 493184"/>
                    <a:gd name="csX10" fmla="*/ 80065 w 335028"/>
                    <a:gd name="csY10" fmla="*/ 267895 h 493184"/>
                    <a:gd name="csX11" fmla="*/ 60175 w 335028"/>
                    <a:gd name="csY11" fmla="*/ 390344 h 493184"/>
                    <a:gd name="csX12" fmla="*/ 100370 w 335028"/>
                    <a:gd name="csY12" fmla="*/ 438723 h 493184"/>
                    <a:gd name="csX13" fmla="*/ 167655 w 335028"/>
                    <a:gd name="csY13" fmla="*/ 439086 h 493184"/>
                    <a:gd name="csX14" fmla="*/ 260165 w 335028"/>
                    <a:gd name="csY14" fmla="*/ 215372 h 493184"/>
                    <a:gd name="csX15" fmla="*/ 278605 w 335028"/>
                    <a:gd name="csY15" fmla="*/ 100071 h 493184"/>
                    <a:gd name="csX16" fmla="*/ 151442 w 335028"/>
                    <a:gd name="csY16" fmla="*/ 55317 h 493184"/>
                    <a:gd name="csX17" fmla="*/ 106741 w 335028"/>
                    <a:gd name="csY17" fmla="*/ 101210 h 493184"/>
                    <a:gd name="csX18" fmla="*/ 88405 w 335028"/>
                    <a:gd name="csY18" fmla="*/ 216045 h 493184"/>
                    <a:gd name="csX19" fmla="*/ 260165 w 335028"/>
                    <a:gd name="csY19" fmla="*/ 215320 h 4931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5028" h="493184">
                      <a:moveTo>
                        <a:pt x="167655" y="439086"/>
                      </a:moveTo>
                      <a:cubicBezTo>
                        <a:pt x="279382" y="439656"/>
                        <a:pt x="192414" y="295865"/>
                        <a:pt x="294300" y="350874"/>
                      </a:cubicBezTo>
                      <a:cubicBezTo>
                        <a:pt x="286427" y="413653"/>
                        <a:pt x="276275" y="477778"/>
                        <a:pt x="201997" y="488397"/>
                      </a:cubicBezTo>
                      <a:cubicBezTo>
                        <a:pt x="158694" y="494613"/>
                        <a:pt x="117256" y="494250"/>
                        <a:pt x="73487" y="490313"/>
                      </a:cubicBezTo>
                      <a:cubicBezTo>
                        <a:pt x="28734" y="486273"/>
                        <a:pt x="-6696" y="446855"/>
                        <a:pt x="1074" y="399253"/>
                      </a:cubicBezTo>
                      <a:lnTo>
                        <a:pt x="53182" y="80646"/>
                      </a:lnTo>
                      <a:cubicBezTo>
                        <a:pt x="68929" y="-15594"/>
                        <a:pt x="180397" y="412"/>
                        <a:pt x="258974" y="1862"/>
                      </a:cubicBezTo>
                      <a:cubicBezTo>
                        <a:pt x="306783" y="2795"/>
                        <a:pt x="340711" y="41643"/>
                        <a:pt x="334236" y="89090"/>
                      </a:cubicBezTo>
                      <a:lnTo>
                        <a:pt x="313155" y="243653"/>
                      </a:lnTo>
                      <a:cubicBezTo>
                        <a:pt x="311186" y="258105"/>
                        <a:pt x="299998" y="267377"/>
                        <a:pt x="285184" y="267429"/>
                      </a:cubicBezTo>
                      <a:lnTo>
                        <a:pt x="80065" y="267895"/>
                      </a:lnTo>
                      <a:lnTo>
                        <a:pt x="60175" y="390344"/>
                      </a:lnTo>
                      <a:cubicBezTo>
                        <a:pt x="55876" y="416916"/>
                        <a:pt x="72865" y="438568"/>
                        <a:pt x="100370" y="438723"/>
                      </a:cubicBezTo>
                      <a:lnTo>
                        <a:pt x="167655" y="439086"/>
                      </a:lnTo>
                      <a:close/>
                      <a:moveTo>
                        <a:pt x="260165" y="215372"/>
                      </a:moveTo>
                      <a:lnTo>
                        <a:pt x="278605" y="100071"/>
                      </a:lnTo>
                      <a:cubicBezTo>
                        <a:pt x="288447" y="38639"/>
                        <a:pt x="191689" y="49672"/>
                        <a:pt x="151442" y="55317"/>
                      </a:cubicBezTo>
                      <a:cubicBezTo>
                        <a:pt x="126838" y="58788"/>
                        <a:pt x="110574" y="77021"/>
                        <a:pt x="106741" y="101210"/>
                      </a:cubicBezTo>
                      <a:lnTo>
                        <a:pt x="88405" y="216045"/>
                      </a:lnTo>
                      <a:lnTo>
                        <a:pt x="260165" y="21532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D8709D31-62B1-631E-77A1-77AE34365862}"/>
                    </a:ext>
                  </a:extLst>
                </p:cNvPr>
                <p:cNvSpPr/>
                <p:nvPr/>
              </p:nvSpPr>
              <p:spPr>
                <a:xfrm>
                  <a:off x="-4456142" y="8578331"/>
                  <a:ext cx="263608" cy="610730"/>
                </a:xfrm>
                <a:custGeom>
                  <a:avLst/>
                  <a:gdLst>
                    <a:gd name="csX0" fmla="*/ 258573 w 263608"/>
                    <a:gd name="csY0" fmla="*/ 556213 h 610730"/>
                    <a:gd name="csX1" fmla="*/ 242102 w 263608"/>
                    <a:gd name="csY1" fmla="*/ 608580 h 610730"/>
                    <a:gd name="csX2" fmla="*/ 0 w 263608"/>
                    <a:gd name="csY2" fmla="*/ 608580 h 610730"/>
                    <a:gd name="csX3" fmla="*/ 95308 w 263608"/>
                    <a:gd name="csY3" fmla="*/ 9489 h 610730"/>
                    <a:gd name="csX4" fmla="*/ 154253 w 263608"/>
                    <a:gd name="csY4" fmla="*/ 9126 h 610730"/>
                    <a:gd name="csX5" fmla="*/ 70289 w 263608"/>
                    <a:gd name="csY5" fmla="*/ 550619 h 610730"/>
                    <a:gd name="csX6" fmla="*/ 258625 w 263608"/>
                    <a:gd name="csY6" fmla="*/ 556264 h 6107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263608" h="610730">
                      <a:moveTo>
                        <a:pt x="258573" y="556213"/>
                      </a:moveTo>
                      <a:cubicBezTo>
                        <a:pt x="271678" y="565743"/>
                        <a:pt x="256709" y="607958"/>
                        <a:pt x="242102" y="608580"/>
                      </a:cubicBezTo>
                      <a:cubicBezTo>
                        <a:pt x="160987" y="611895"/>
                        <a:pt x="85829" y="610963"/>
                        <a:pt x="0" y="608580"/>
                      </a:cubicBezTo>
                      <a:lnTo>
                        <a:pt x="95308" y="9489"/>
                      </a:lnTo>
                      <a:cubicBezTo>
                        <a:pt x="108360" y="-2787"/>
                        <a:pt x="140993" y="-3408"/>
                        <a:pt x="154253" y="9126"/>
                      </a:cubicBezTo>
                      <a:lnTo>
                        <a:pt x="70289" y="550619"/>
                      </a:lnTo>
                      <a:lnTo>
                        <a:pt x="258625" y="55626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5D5E34CB-88CC-87AE-7457-E6D3ABBA4E1F}"/>
                  </a:ext>
                </a:extLst>
              </p:cNvPr>
              <p:cNvSpPr/>
              <p:nvPr/>
            </p:nvSpPr>
            <p:spPr>
              <a:xfrm>
                <a:off x="-3617591" y="8703580"/>
                <a:ext cx="254124" cy="486521"/>
              </a:xfrm>
              <a:custGeom>
                <a:avLst/>
                <a:gdLst>
                  <a:gd name="csX0" fmla="*/ 54336 w 254124"/>
                  <a:gd name="csY0" fmla="*/ 476442 h 486521"/>
                  <a:gd name="csX1" fmla="*/ 0 w 254124"/>
                  <a:gd name="csY1" fmla="*/ 477581 h 486521"/>
                  <a:gd name="csX2" fmla="*/ 73915 w 254124"/>
                  <a:gd name="csY2" fmla="*/ 13216 h 486521"/>
                  <a:gd name="csX3" fmla="*/ 121724 w 254124"/>
                  <a:gd name="csY3" fmla="*/ 9331 h 486521"/>
                  <a:gd name="csX4" fmla="*/ 123382 w 254124"/>
                  <a:gd name="csY4" fmla="*/ 54965 h 486521"/>
                  <a:gd name="csX5" fmla="*/ 252513 w 254124"/>
                  <a:gd name="csY5" fmla="*/ 2960 h 486521"/>
                  <a:gd name="csX6" fmla="*/ 246971 w 254124"/>
                  <a:gd name="csY6" fmla="*/ 38338 h 486521"/>
                  <a:gd name="csX7" fmla="*/ 212836 w 254124"/>
                  <a:gd name="csY7" fmla="*/ 52323 h 486521"/>
                  <a:gd name="csX8" fmla="*/ 113437 w 254124"/>
                  <a:gd name="csY8" fmla="*/ 137737 h 486521"/>
                  <a:gd name="csX9" fmla="*/ 54336 w 254124"/>
                  <a:gd name="csY9" fmla="*/ 476390 h 4865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24" h="486521">
                    <a:moveTo>
                      <a:pt x="54336" y="476442"/>
                    </a:moveTo>
                    <a:cubicBezTo>
                      <a:pt x="51694" y="491670"/>
                      <a:pt x="10670" y="487630"/>
                      <a:pt x="0" y="477581"/>
                    </a:cubicBezTo>
                    <a:lnTo>
                      <a:pt x="73915" y="13216"/>
                    </a:lnTo>
                    <a:cubicBezTo>
                      <a:pt x="76143" y="-769"/>
                      <a:pt x="114576" y="-510"/>
                      <a:pt x="121724" y="9331"/>
                    </a:cubicBezTo>
                    <a:cubicBezTo>
                      <a:pt x="131255" y="22591"/>
                      <a:pt x="116855" y="36784"/>
                      <a:pt x="123382" y="54965"/>
                    </a:cubicBezTo>
                    <a:cubicBezTo>
                      <a:pt x="145914" y="8658"/>
                      <a:pt x="204859" y="-7244"/>
                      <a:pt x="252513" y="2960"/>
                    </a:cubicBezTo>
                    <a:cubicBezTo>
                      <a:pt x="256968" y="16324"/>
                      <a:pt x="251218" y="30361"/>
                      <a:pt x="246971" y="38338"/>
                    </a:cubicBezTo>
                    <a:cubicBezTo>
                      <a:pt x="241377" y="48749"/>
                      <a:pt x="227754" y="52271"/>
                      <a:pt x="212836" y="52323"/>
                    </a:cubicBezTo>
                    <a:cubicBezTo>
                      <a:pt x="163628" y="52582"/>
                      <a:pt x="122346" y="86924"/>
                      <a:pt x="113437" y="137737"/>
                    </a:cubicBezTo>
                    <a:lnTo>
                      <a:pt x="54336" y="476390"/>
                    </a:ln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28" name="Graphic 2">
                <a:extLst>
                  <a:ext uri="{FF2B5EF4-FFF2-40B4-BE49-F238E27FC236}">
                    <a16:creationId xmlns:a16="http://schemas.microsoft.com/office/drawing/2014/main" id="{342CD2FB-B097-F5A2-B913-B9F86C4B893A}"/>
                  </a:ext>
                </a:extLst>
              </p:cNvPr>
              <p:cNvGrpSpPr/>
              <p:nvPr/>
            </p:nvGrpSpPr>
            <p:grpSpPr>
              <a:xfrm>
                <a:off x="-4451188" y="9377107"/>
                <a:ext cx="4402683" cy="625339"/>
                <a:chOff x="-4451188" y="9377107"/>
                <a:chExt cx="4402683" cy="625339"/>
              </a:xfrm>
              <a:grpFill/>
            </p:grpSpPr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C46E9D13-2618-AE5E-D7C3-36B44090BFD9}"/>
                    </a:ext>
                  </a:extLst>
                </p:cNvPr>
                <p:cNvSpPr/>
                <p:nvPr/>
              </p:nvSpPr>
              <p:spPr>
                <a:xfrm>
                  <a:off x="-3199082" y="9511766"/>
                  <a:ext cx="336917" cy="489876"/>
                </a:xfrm>
                <a:custGeom>
                  <a:avLst/>
                  <a:gdLst>
                    <a:gd name="csX0" fmla="*/ 67 w 336917"/>
                    <a:gd name="csY0" fmla="*/ 413415 h 489876"/>
                    <a:gd name="csX1" fmla="*/ 107806 w 336917"/>
                    <a:gd name="csY1" fmla="*/ 216791 h 489876"/>
                    <a:gd name="csX2" fmla="*/ 258330 w 336917"/>
                    <a:gd name="csY2" fmla="*/ 214927 h 489876"/>
                    <a:gd name="csX3" fmla="*/ 241703 w 336917"/>
                    <a:gd name="csY3" fmla="*/ 51350 h 489876"/>
                    <a:gd name="csX4" fmla="*/ 159241 w 336917"/>
                    <a:gd name="csY4" fmla="*/ 51868 h 489876"/>
                    <a:gd name="csX5" fmla="*/ 52797 w 336917"/>
                    <a:gd name="csY5" fmla="*/ 145259 h 489876"/>
                    <a:gd name="csX6" fmla="*/ 146395 w 336917"/>
                    <a:gd name="csY6" fmla="*/ 1210 h 489876"/>
                    <a:gd name="csX7" fmla="*/ 260505 w 336917"/>
                    <a:gd name="csY7" fmla="*/ 381 h 489876"/>
                    <a:gd name="csX8" fmla="*/ 317742 w 336917"/>
                    <a:gd name="csY8" fmla="*/ 24312 h 489876"/>
                    <a:gd name="csX9" fmla="*/ 335922 w 336917"/>
                    <a:gd name="csY9" fmla="*/ 91649 h 489876"/>
                    <a:gd name="csX10" fmla="*/ 275060 w 336917"/>
                    <a:gd name="csY10" fmla="*/ 475831 h 489876"/>
                    <a:gd name="csX11" fmla="*/ 228391 w 336917"/>
                    <a:gd name="csY11" fmla="*/ 477592 h 489876"/>
                    <a:gd name="csX12" fmla="*/ 223833 w 336917"/>
                    <a:gd name="csY12" fmla="*/ 452263 h 489876"/>
                    <a:gd name="csX13" fmla="*/ 66213 w 336917"/>
                    <a:gd name="csY13" fmla="*/ 487279 h 489876"/>
                    <a:gd name="csX14" fmla="*/ 119 w 336917"/>
                    <a:gd name="csY14" fmla="*/ 413467 h 489876"/>
                    <a:gd name="csX15" fmla="*/ 233674 w 336917"/>
                    <a:gd name="csY15" fmla="*/ 375603 h 489876"/>
                    <a:gd name="csX16" fmla="*/ 249058 w 336917"/>
                    <a:gd name="csY16" fmla="*/ 267657 h 489876"/>
                    <a:gd name="csX17" fmla="*/ 70719 w 336917"/>
                    <a:gd name="csY17" fmla="*/ 319092 h 489876"/>
                    <a:gd name="csX18" fmla="*/ 58909 w 336917"/>
                    <a:gd name="csY18" fmla="*/ 395493 h 489876"/>
                    <a:gd name="csX19" fmla="*/ 91075 w 336917"/>
                    <a:gd name="csY19" fmla="*/ 436465 h 489876"/>
                    <a:gd name="csX20" fmla="*/ 233622 w 336917"/>
                    <a:gd name="csY20" fmla="*/ 375603 h 48987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917" h="489876">
                      <a:moveTo>
                        <a:pt x="67" y="413415"/>
                      </a:moveTo>
                      <a:cubicBezTo>
                        <a:pt x="4159" y="338775"/>
                        <a:pt x="13224" y="217983"/>
                        <a:pt x="107806" y="216791"/>
                      </a:cubicBezTo>
                      <a:lnTo>
                        <a:pt x="258330" y="214927"/>
                      </a:lnTo>
                      <a:cubicBezTo>
                        <a:pt x="260764" y="168413"/>
                        <a:pt x="309247" y="51764"/>
                        <a:pt x="241703" y="51350"/>
                      </a:cubicBezTo>
                      <a:cubicBezTo>
                        <a:pt x="213577" y="51195"/>
                        <a:pt x="186642" y="49330"/>
                        <a:pt x="159241" y="51868"/>
                      </a:cubicBezTo>
                      <a:cubicBezTo>
                        <a:pt x="77712" y="59431"/>
                        <a:pt x="144220" y="200424"/>
                        <a:pt x="52797" y="145259"/>
                      </a:cubicBezTo>
                      <a:cubicBezTo>
                        <a:pt x="51865" y="84759"/>
                        <a:pt x="71185" y="6027"/>
                        <a:pt x="146395" y="1210"/>
                      </a:cubicBezTo>
                      <a:cubicBezTo>
                        <a:pt x="184725" y="-1224"/>
                        <a:pt x="221761" y="847"/>
                        <a:pt x="260505" y="381"/>
                      </a:cubicBezTo>
                      <a:cubicBezTo>
                        <a:pt x="284021" y="122"/>
                        <a:pt x="305310" y="8772"/>
                        <a:pt x="317742" y="24312"/>
                      </a:cubicBezTo>
                      <a:cubicBezTo>
                        <a:pt x="331002" y="40939"/>
                        <a:pt x="340015" y="65905"/>
                        <a:pt x="335922" y="91649"/>
                      </a:cubicBezTo>
                      <a:lnTo>
                        <a:pt x="275060" y="475831"/>
                      </a:lnTo>
                      <a:cubicBezTo>
                        <a:pt x="272470" y="487796"/>
                        <a:pt x="234503" y="482772"/>
                        <a:pt x="228391" y="477592"/>
                      </a:cubicBezTo>
                      <a:lnTo>
                        <a:pt x="223833" y="452263"/>
                      </a:lnTo>
                      <a:cubicBezTo>
                        <a:pt x="192702" y="496706"/>
                        <a:pt x="118735" y="491267"/>
                        <a:pt x="66213" y="487279"/>
                      </a:cubicBezTo>
                      <a:cubicBezTo>
                        <a:pt x="27209" y="484326"/>
                        <a:pt x="-2108" y="454025"/>
                        <a:pt x="119" y="413467"/>
                      </a:cubicBezTo>
                      <a:close/>
                      <a:moveTo>
                        <a:pt x="233674" y="375603"/>
                      </a:moveTo>
                      <a:cubicBezTo>
                        <a:pt x="239424" y="339293"/>
                        <a:pt x="246727" y="305883"/>
                        <a:pt x="249058" y="267657"/>
                      </a:cubicBezTo>
                      <a:cubicBezTo>
                        <a:pt x="176749" y="271904"/>
                        <a:pt x="82684" y="241603"/>
                        <a:pt x="70719" y="319092"/>
                      </a:cubicBezTo>
                      <a:lnTo>
                        <a:pt x="58909" y="395493"/>
                      </a:lnTo>
                      <a:cubicBezTo>
                        <a:pt x="55594" y="416937"/>
                        <a:pt x="69113" y="434445"/>
                        <a:pt x="91075" y="436465"/>
                      </a:cubicBezTo>
                      <a:cubicBezTo>
                        <a:pt x="146240" y="441593"/>
                        <a:pt x="222797" y="444235"/>
                        <a:pt x="233622" y="37560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4" name="Graphic 2">
                  <a:extLst>
                    <a:ext uri="{FF2B5EF4-FFF2-40B4-BE49-F238E27FC236}">
                      <a16:creationId xmlns:a16="http://schemas.microsoft.com/office/drawing/2014/main" id="{4EF9FCD8-66A2-B63F-F483-5F1C54962D42}"/>
                    </a:ext>
                  </a:extLst>
                </p:cNvPr>
                <p:cNvGrpSpPr/>
                <p:nvPr/>
              </p:nvGrpSpPr>
              <p:grpSpPr>
                <a:xfrm>
                  <a:off x="-760337" y="9377107"/>
                  <a:ext cx="711832" cy="624477"/>
                  <a:chOff x="-760337" y="9377107"/>
                  <a:chExt cx="711832" cy="624477"/>
                </a:xfrm>
                <a:grpFill/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3F8E5EB5-A47E-BED7-F103-95F943DFC89E}"/>
                      </a:ext>
                    </a:extLst>
                  </p:cNvPr>
                  <p:cNvSpPr/>
                  <p:nvPr/>
                </p:nvSpPr>
                <p:spPr>
                  <a:xfrm>
                    <a:off x="-760337" y="9377107"/>
                    <a:ext cx="372583" cy="624477"/>
                  </a:xfrm>
                  <a:custGeom>
                    <a:avLst/>
                    <a:gdLst>
                      <a:gd name="csX0" fmla="*/ 64492 w 372583"/>
                      <a:gd name="csY0" fmla="*/ 621420 h 624477"/>
                      <a:gd name="csX1" fmla="*/ 936 w 372583"/>
                      <a:gd name="csY1" fmla="*/ 541237 h 624477"/>
                      <a:gd name="csX2" fmla="*/ 53925 w 372583"/>
                      <a:gd name="csY2" fmla="*/ 206624 h 624477"/>
                      <a:gd name="csX3" fmla="*/ 135454 w 372583"/>
                      <a:gd name="csY3" fmla="*/ 135144 h 624477"/>
                      <a:gd name="csX4" fmla="*/ 218590 w 372583"/>
                      <a:gd name="csY4" fmla="*/ 134522 h 624477"/>
                      <a:gd name="csX5" fmla="*/ 287014 w 372583"/>
                      <a:gd name="csY5" fmla="*/ 170211 h 624477"/>
                      <a:gd name="csX6" fmla="*/ 316953 w 372583"/>
                      <a:gd name="csY6" fmla="*/ 10778 h 624477"/>
                      <a:gd name="csX7" fmla="*/ 372584 w 372583"/>
                      <a:gd name="csY7" fmla="*/ 9327 h 624477"/>
                      <a:gd name="csX8" fmla="*/ 276914 w 372583"/>
                      <a:gd name="csY8" fmla="*/ 606916 h 624477"/>
                      <a:gd name="csX9" fmla="*/ 230658 w 372583"/>
                      <a:gd name="csY9" fmla="*/ 613391 h 624477"/>
                      <a:gd name="csX10" fmla="*/ 222009 w 372583"/>
                      <a:gd name="csY10" fmla="*/ 588269 h 624477"/>
                      <a:gd name="csX11" fmla="*/ 64440 w 372583"/>
                      <a:gd name="csY11" fmla="*/ 621420 h 624477"/>
                      <a:gd name="csX12" fmla="*/ 234025 w 372583"/>
                      <a:gd name="csY12" fmla="*/ 512593 h 624477"/>
                      <a:gd name="csX13" fmla="*/ 276810 w 372583"/>
                      <a:gd name="csY13" fmla="*/ 238273 h 624477"/>
                      <a:gd name="csX14" fmla="*/ 231487 w 372583"/>
                      <a:gd name="csY14" fmla="*/ 185543 h 624477"/>
                      <a:gd name="csX15" fmla="*/ 160887 w 372583"/>
                      <a:gd name="csY15" fmla="*/ 185180 h 624477"/>
                      <a:gd name="csX16" fmla="*/ 108778 w 372583"/>
                      <a:gd name="csY16" fmla="*/ 224650 h 624477"/>
                      <a:gd name="csX17" fmla="*/ 59623 w 372583"/>
                      <a:gd name="csY17" fmla="*/ 535642 h 624477"/>
                      <a:gd name="csX18" fmla="*/ 87490 w 372583"/>
                      <a:gd name="csY18" fmla="*/ 570244 h 624477"/>
                      <a:gd name="csX19" fmla="*/ 234025 w 372583"/>
                      <a:gd name="csY19" fmla="*/ 512645 h 62447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72583" h="624477">
                        <a:moveTo>
                          <a:pt x="64492" y="621420"/>
                        </a:moveTo>
                        <a:cubicBezTo>
                          <a:pt x="22691" y="617276"/>
                          <a:pt x="-5590" y="582571"/>
                          <a:pt x="936" y="541237"/>
                        </a:cubicBezTo>
                        <a:lnTo>
                          <a:pt x="53925" y="206624"/>
                        </a:lnTo>
                        <a:cubicBezTo>
                          <a:pt x="60711" y="163788"/>
                          <a:pt x="93809" y="135455"/>
                          <a:pt x="135454" y="135144"/>
                        </a:cubicBezTo>
                        <a:lnTo>
                          <a:pt x="218590" y="134522"/>
                        </a:lnTo>
                        <a:cubicBezTo>
                          <a:pt x="247700" y="134315"/>
                          <a:pt x="269455" y="145917"/>
                          <a:pt x="287014" y="170211"/>
                        </a:cubicBezTo>
                        <a:lnTo>
                          <a:pt x="316953" y="10778"/>
                        </a:lnTo>
                        <a:cubicBezTo>
                          <a:pt x="319905" y="-4917"/>
                          <a:pt x="359375" y="-1757"/>
                          <a:pt x="372584" y="9327"/>
                        </a:cubicBezTo>
                        <a:lnTo>
                          <a:pt x="276914" y="606916"/>
                        </a:lnTo>
                        <a:cubicBezTo>
                          <a:pt x="274479" y="622093"/>
                          <a:pt x="238169" y="619089"/>
                          <a:pt x="230658" y="613391"/>
                        </a:cubicBezTo>
                        <a:cubicBezTo>
                          <a:pt x="224132" y="606761"/>
                          <a:pt x="228172" y="597075"/>
                          <a:pt x="222009" y="588269"/>
                        </a:cubicBezTo>
                        <a:cubicBezTo>
                          <a:pt x="194763" y="629759"/>
                          <a:pt x="118516" y="626806"/>
                          <a:pt x="64440" y="621420"/>
                        </a:cubicBezTo>
                        <a:close/>
                        <a:moveTo>
                          <a:pt x="234025" y="512593"/>
                        </a:moveTo>
                        <a:lnTo>
                          <a:pt x="276810" y="238273"/>
                        </a:lnTo>
                        <a:cubicBezTo>
                          <a:pt x="281420" y="208748"/>
                          <a:pt x="259354" y="185698"/>
                          <a:pt x="231487" y="185543"/>
                        </a:cubicBezTo>
                        <a:lnTo>
                          <a:pt x="160887" y="185180"/>
                        </a:lnTo>
                        <a:cubicBezTo>
                          <a:pt x="136387" y="185076"/>
                          <a:pt x="112871" y="198751"/>
                          <a:pt x="108778" y="224650"/>
                        </a:cubicBezTo>
                        <a:lnTo>
                          <a:pt x="59623" y="535642"/>
                        </a:lnTo>
                        <a:cubicBezTo>
                          <a:pt x="59623" y="553409"/>
                          <a:pt x="69412" y="568068"/>
                          <a:pt x="87490" y="570244"/>
                        </a:cubicBezTo>
                        <a:cubicBezTo>
                          <a:pt x="138096" y="576200"/>
                          <a:pt x="223407" y="580551"/>
                          <a:pt x="234025" y="51264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B60ADFCA-C635-E20A-7594-1CE0463EE672}"/>
                      </a:ext>
                    </a:extLst>
                  </p:cNvPr>
                  <p:cNvSpPr/>
                  <p:nvPr/>
                </p:nvSpPr>
                <p:spPr>
                  <a:xfrm>
                    <a:off x="-381617" y="9511681"/>
                    <a:ext cx="333112" cy="488906"/>
                  </a:xfrm>
                  <a:custGeom>
                    <a:avLst/>
                    <a:gdLst>
                      <a:gd name="csX0" fmla="*/ 179662 w 333112"/>
                      <a:gd name="csY0" fmla="*/ 435929 h 488906"/>
                      <a:gd name="csX1" fmla="*/ 291131 w 333112"/>
                      <a:gd name="csY1" fmla="*/ 348029 h 488906"/>
                      <a:gd name="csX2" fmla="*/ 193751 w 333112"/>
                      <a:gd name="csY2" fmla="*/ 487157 h 488906"/>
                      <a:gd name="csX3" fmla="*/ 74980 w 333112"/>
                      <a:gd name="csY3" fmla="*/ 487468 h 488906"/>
                      <a:gd name="csX4" fmla="*/ 909 w 333112"/>
                      <a:gd name="csY4" fmla="*/ 401069 h 488906"/>
                      <a:gd name="csX5" fmla="*/ 52085 w 333112"/>
                      <a:gd name="csY5" fmla="*/ 81219 h 488906"/>
                      <a:gd name="csX6" fmla="*/ 150190 w 333112"/>
                      <a:gd name="csY6" fmla="*/ 1 h 488906"/>
                      <a:gd name="csX7" fmla="*/ 258446 w 333112"/>
                      <a:gd name="csY7" fmla="*/ 260 h 488906"/>
                      <a:gd name="csX8" fmla="*/ 307861 w 333112"/>
                      <a:gd name="csY8" fmla="*/ 261061 h 488906"/>
                      <a:gd name="csX9" fmla="*/ 80936 w 333112"/>
                      <a:gd name="csY9" fmla="*/ 264168 h 488906"/>
                      <a:gd name="csX10" fmla="*/ 95802 w 333112"/>
                      <a:gd name="csY10" fmla="*/ 435981 h 488906"/>
                      <a:gd name="csX11" fmla="*/ 179610 w 333112"/>
                      <a:gd name="csY11" fmla="*/ 435929 h 488906"/>
                      <a:gd name="csX12" fmla="*/ 261140 w 333112"/>
                      <a:gd name="csY12" fmla="*/ 212215 h 488906"/>
                      <a:gd name="csX13" fmla="*/ 277767 w 333112"/>
                      <a:gd name="csY13" fmla="*/ 90543 h 488906"/>
                      <a:gd name="csX14" fmla="*/ 245290 w 333112"/>
                      <a:gd name="csY14" fmla="*/ 51539 h 488906"/>
                      <a:gd name="csX15" fmla="*/ 106680 w 333112"/>
                      <a:gd name="csY15" fmla="*/ 96758 h 488906"/>
                      <a:gd name="csX16" fmla="*/ 89742 w 333112"/>
                      <a:gd name="csY16" fmla="*/ 212267 h 488906"/>
                      <a:gd name="csX17" fmla="*/ 261140 w 333112"/>
                      <a:gd name="csY17" fmla="*/ 212267 h 488906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</a:cxnLst>
                    <a:rect l="l" t="t" r="r" b="b"/>
                    <a:pathLst>
                      <a:path w="333112" h="488906">
                        <a:moveTo>
                          <a:pt x="179662" y="435929"/>
                        </a:moveTo>
                        <a:cubicBezTo>
                          <a:pt x="272173" y="425155"/>
                          <a:pt x="198931" y="297112"/>
                          <a:pt x="291131" y="348029"/>
                        </a:cubicBezTo>
                        <a:cubicBezTo>
                          <a:pt x="291908" y="408943"/>
                          <a:pt x="268703" y="482443"/>
                          <a:pt x="193751" y="487157"/>
                        </a:cubicBezTo>
                        <a:cubicBezTo>
                          <a:pt x="153504" y="489695"/>
                          <a:pt x="116003" y="489177"/>
                          <a:pt x="74980" y="487468"/>
                        </a:cubicBezTo>
                        <a:cubicBezTo>
                          <a:pt x="31987" y="485655"/>
                          <a:pt x="-6447" y="446910"/>
                          <a:pt x="909" y="401069"/>
                        </a:cubicBezTo>
                        <a:lnTo>
                          <a:pt x="52085" y="81219"/>
                        </a:lnTo>
                        <a:cubicBezTo>
                          <a:pt x="60217" y="30509"/>
                          <a:pt x="100775" y="-155"/>
                          <a:pt x="150190" y="1"/>
                        </a:cubicBezTo>
                        <a:lnTo>
                          <a:pt x="258446" y="260"/>
                        </a:lnTo>
                        <a:cubicBezTo>
                          <a:pt x="383434" y="519"/>
                          <a:pt x="315475" y="182276"/>
                          <a:pt x="307861" y="261061"/>
                        </a:cubicBezTo>
                        <a:lnTo>
                          <a:pt x="80936" y="264168"/>
                        </a:lnTo>
                        <a:cubicBezTo>
                          <a:pt x="77776" y="318401"/>
                          <a:pt x="29294" y="428781"/>
                          <a:pt x="95802" y="435981"/>
                        </a:cubicBezTo>
                        <a:cubicBezTo>
                          <a:pt x="123462" y="438985"/>
                          <a:pt x="152003" y="439141"/>
                          <a:pt x="179610" y="435929"/>
                        </a:cubicBezTo>
                        <a:close/>
                        <a:moveTo>
                          <a:pt x="261140" y="212215"/>
                        </a:moveTo>
                        <a:lnTo>
                          <a:pt x="277767" y="90543"/>
                        </a:lnTo>
                        <a:cubicBezTo>
                          <a:pt x="280512" y="70290"/>
                          <a:pt x="266113" y="52264"/>
                          <a:pt x="245290" y="51539"/>
                        </a:cubicBezTo>
                        <a:cubicBezTo>
                          <a:pt x="183703" y="49468"/>
                          <a:pt x="117195" y="39004"/>
                          <a:pt x="106680" y="96758"/>
                        </a:cubicBezTo>
                        <a:cubicBezTo>
                          <a:pt x="99532" y="136073"/>
                          <a:pt x="92539" y="173471"/>
                          <a:pt x="89742" y="212267"/>
                        </a:cubicBezTo>
                        <a:lnTo>
                          <a:pt x="261140" y="212267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15CB8B20-63D5-0525-14C0-9C40738EAC8C}"/>
                    </a:ext>
                  </a:extLst>
                </p:cNvPr>
                <p:cNvSpPr/>
                <p:nvPr/>
              </p:nvSpPr>
              <p:spPr>
                <a:xfrm>
                  <a:off x="-2248476" y="9512146"/>
                  <a:ext cx="333046" cy="488583"/>
                </a:xfrm>
                <a:custGeom>
                  <a:avLst/>
                  <a:gdLst>
                    <a:gd name="csX0" fmla="*/ 176110 w 333046"/>
                    <a:gd name="csY0" fmla="*/ 435981 h 488583"/>
                    <a:gd name="csX1" fmla="*/ 290428 w 333046"/>
                    <a:gd name="csY1" fmla="*/ 346527 h 488583"/>
                    <a:gd name="csX2" fmla="*/ 194964 w 333046"/>
                    <a:gd name="csY2" fmla="*/ 486173 h 488583"/>
                    <a:gd name="csX3" fmla="*/ 72826 w 333046"/>
                    <a:gd name="csY3" fmla="*/ 486640 h 488583"/>
                    <a:gd name="csX4" fmla="*/ 1190 w 333046"/>
                    <a:gd name="csY4" fmla="*/ 393145 h 488583"/>
                    <a:gd name="csX5" fmla="*/ 53868 w 333046"/>
                    <a:gd name="csY5" fmla="*/ 74590 h 488583"/>
                    <a:gd name="csX6" fmla="*/ 140007 w 333046"/>
                    <a:gd name="csY6" fmla="*/ 675 h 488583"/>
                    <a:gd name="csX7" fmla="*/ 260903 w 333046"/>
                    <a:gd name="csY7" fmla="*/ 1 h 488583"/>
                    <a:gd name="csX8" fmla="*/ 332746 w 333046"/>
                    <a:gd name="csY8" fmla="*/ 83965 h 488583"/>
                    <a:gd name="csX9" fmla="*/ 305501 w 333046"/>
                    <a:gd name="csY9" fmla="*/ 261527 h 488583"/>
                    <a:gd name="csX10" fmla="*/ 81321 w 333046"/>
                    <a:gd name="csY10" fmla="*/ 263185 h 488583"/>
                    <a:gd name="csX11" fmla="*/ 59773 w 333046"/>
                    <a:gd name="csY11" fmla="*/ 388638 h 488583"/>
                    <a:gd name="csX12" fmla="*/ 97844 w 333046"/>
                    <a:gd name="csY12" fmla="*/ 436085 h 488583"/>
                    <a:gd name="csX13" fmla="*/ 176110 w 333046"/>
                    <a:gd name="csY13" fmla="*/ 435981 h 488583"/>
                    <a:gd name="csX14" fmla="*/ 260903 w 333046"/>
                    <a:gd name="csY14" fmla="*/ 210351 h 488583"/>
                    <a:gd name="csX15" fmla="*/ 277944 w 333046"/>
                    <a:gd name="csY15" fmla="*/ 94791 h 488583"/>
                    <a:gd name="csX16" fmla="*/ 242100 w 333046"/>
                    <a:gd name="csY16" fmla="*/ 50918 h 488583"/>
                    <a:gd name="csX17" fmla="*/ 105873 w 333046"/>
                    <a:gd name="csY17" fmla="*/ 100074 h 488583"/>
                    <a:gd name="csX18" fmla="*/ 88883 w 333046"/>
                    <a:gd name="csY18" fmla="*/ 211594 h 488583"/>
                    <a:gd name="csX19" fmla="*/ 260955 w 333046"/>
                    <a:gd name="csY19" fmla="*/ 210351 h 48858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</a:cxnLst>
                  <a:rect l="l" t="t" r="r" b="b"/>
                  <a:pathLst>
                    <a:path w="333046" h="488583">
                      <a:moveTo>
                        <a:pt x="176110" y="435981"/>
                      </a:moveTo>
                      <a:cubicBezTo>
                        <a:pt x="273852" y="426606"/>
                        <a:pt x="197037" y="297371"/>
                        <a:pt x="290428" y="346527"/>
                      </a:cubicBezTo>
                      <a:cubicBezTo>
                        <a:pt x="292396" y="409772"/>
                        <a:pt x="270744" y="479699"/>
                        <a:pt x="194964" y="486173"/>
                      </a:cubicBezTo>
                      <a:cubicBezTo>
                        <a:pt x="153941" y="489696"/>
                        <a:pt x="114264" y="488919"/>
                        <a:pt x="72826" y="486640"/>
                      </a:cubicBezTo>
                      <a:cubicBezTo>
                        <a:pt x="26260" y="484050"/>
                        <a:pt x="-6787" y="441420"/>
                        <a:pt x="1190" y="393145"/>
                      </a:cubicBezTo>
                      <a:lnTo>
                        <a:pt x="53868" y="74590"/>
                      </a:lnTo>
                      <a:cubicBezTo>
                        <a:pt x="61068" y="31080"/>
                        <a:pt x="98207" y="882"/>
                        <a:pt x="140007" y="675"/>
                      </a:cubicBezTo>
                      <a:lnTo>
                        <a:pt x="260903" y="1"/>
                      </a:lnTo>
                      <a:cubicBezTo>
                        <a:pt x="307728" y="-258"/>
                        <a:pt x="336320" y="38072"/>
                        <a:pt x="332746" y="83965"/>
                      </a:cubicBezTo>
                      <a:cubicBezTo>
                        <a:pt x="328084" y="144102"/>
                        <a:pt x="320988" y="203048"/>
                        <a:pt x="305501" y="261527"/>
                      </a:cubicBezTo>
                      <a:lnTo>
                        <a:pt x="81321" y="263185"/>
                      </a:lnTo>
                      <a:cubicBezTo>
                        <a:pt x="71168" y="303535"/>
                        <a:pt x="67439" y="345439"/>
                        <a:pt x="59773" y="388638"/>
                      </a:cubicBezTo>
                      <a:cubicBezTo>
                        <a:pt x="55370" y="413450"/>
                        <a:pt x="73396" y="434117"/>
                        <a:pt x="97844" y="436085"/>
                      </a:cubicBezTo>
                      <a:cubicBezTo>
                        <a:pt x="124261" y="438157"/>
                        <a:pt x="150108" y="438416"/>
                        <a:pt x="176110" y="435981"/>
                      </a:cubicBezTo>
                      <a:close/>
                      <a:moveTo>
                        <a:pt x="260903" y="210351"/>
                      </a:moveTo>
                      <a:lnTo>
                        <a:pt x="277944" y="94791"/>
                      </a:lnTo>
                      <a:cubicBezTo>
                        <a:pt x="281311" y="71741"/>
                        <a:pt x="266963" y="51125"/>
                        <a:pt x="242100" y="50918"/>
                      </a:cubicBezTo>
                      <a:cubicBezTo>
                        <a:pt x="179684" y="50400"/>
                        <a:pt x="117113" y="36674"/>
                        <a:pt x="105873" y="100074"/>
                      </a:cubicBezTo>
                      <a:cubicBezTo>
                        <a:pt x="99294" y="137265"/>
                        <a:pt x="92664" y="170623"/>
                        <a:pt x="88883" y="211594"/>
                      </a:cubicBezTo>
                      <a:lnTo>
                        <a:pt x="260955" y="210351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398D858B-0BE1-329C-3F46-5826A9D76051}"/>
                    </a:ext>
                  </a:extLst>
                </p:cNvPr>
                <p:cNvSpPr/>
                <p:nvPr/>
              </p:nvSpPr>
              <p:spPr>
                <a:xfrm>
                  <a:off x="-1281558" y="9510667"/>
                  <a:ext cx="327919" cy="491062"/>
                </a:xfrm>
                <a:custGeom>
                  <a:avLst/>
                  <a:gdLst>
                    <a:gd name="csX0" fmla="*/ 279175 w 327919"/>
                    <a:gd name="csY0" fmla="*/ 424874 h 491062"/>
                    <a:gd name="csX1" fmla="*/ 75041 w 327919"/>
                    <a:gd name="csY1" fmla="*/ 488482 h 491062"/>
                    <a:gd name="csX2" fmla="*/ 89 w 327919"/>
                    <a:gd name="csY2" fmla="*/ 413116 h 491062"/>
                    <a:gd name="csX3" fmla="*/ 13143 w 327919"/>
                    <a:gd name="csY3" fmla="*/ 334591 h 491062"/>
                    <a:gd name="csX4" fmla="*/ 59243 w 327919"/>
                    <a:gd name="csY4" fmla="*/ 326977 h 491062"/>
                    <a:gd name="csX5" fmla="*/ 57274 w 327919"/>
                    <a:gd name="csY5" fmla="*/ 385767 h 491062"/>
                    <a:gd name="csX6" fmla="*/ 94931 w 327919"/>
                    <a:gd name="csY6" fmla="*/ 437202 h 491062"/>
                    <a:gd name="csX7" fmla="*/ 231210 w 327919"/>
                    <a:gd name="csY7" fmla="*/ 388409 h 491062"/>
                    <a:gd name="csX8" fmla="*/ 243176 w 327919"/>
                    <a:gd name="csY8" fmla="*/ 312784 h 491062"/>
                    <a:gd name="csX9" fmla="*/ 200495 w 327919"/>
                    <a:gd name="csY9" fmla="*/ 264457 h 491062"/>
                    <a:gd name="csX10" fmla="*/ 111921 w 327919"/>
                    <a:gd name="csY10" fmla="*/ 263991 h 491062"/>
                    <a:gd name="csX11" fmla="*/ 40492 w 327919"/>
                    <a:gd name="csY11" fmla="*/ 179975 h 491062"/>
                    <a:gd name="csX12" fmla="*/ 131293 w 327919"/>
                    <a:gd name="csY12" fmla="*/ 3760 h 491062"/>
                    <a:gd name="csX13" fmla="*/ 275808 w 327919"/>
                    <a:gd name="csY13" fmla="*/ 5676 h 491062"/>
                    <a:gd name="csX14" fmla="*/ 310720 w 327919"/>
                    <a:gd name="csY14" fmla="*/ 147913 h 491062"/>
                    <a:gd name="csX15" fmla="*/ 268505 w 327919"/>
                    <a:gd name="csY15" fmla="*/ 146773 h 491062"/>
                    <a:gd name="csX16" fmla="*/ 262910 w 327919"/>
                    <a:gd name="csY16" fmla="*/ 64311 h 491062"/>
                    <a:gd name="csX17" fmla="*/ 232453 w 327919"/>
                    <a:gd name="csY17" fmla="*/ 51828 h 491062"/>
                    <a:gd name="csX18" fmla="*/ 168743 w 327919"/>
                    <a:gd name="csY18" fmla="*/ 51569 h 491062"/>
                    <a:gd name="csX19" fmla="*/ 98712 w 327919"/>
                    <a:gd name="csY19" fmla="*/ 167337 h 491062"/>
                    <a:gd name="csX20" fmla="*/ 136939 w 327919"/>
                    <a:gd name="csY20" fmla="*/ 213178 h 491062"/>
                    <a:gd name="csX21" fmla="*/ 231210 w 327919"/>
                    <a:gd name="csY21" fmla="*/ 214421 h 491062"/>
                    <a:gd name="csX22" fmla="*/ 301034 w 327919"/>
                    <a:gd name="csY22" fmla="*/ 294552 h 491062"/>
                    <a:gd name="csX23" fmla="*/ 279123 w 327919"/>
                    <a:gd name="csY23" fmla="*/ 424719 h 49106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</a:cxnLst>
                  <a:rect l="l" t="t" r="r" b="b"/>
                  <a:pathLst>
                    <a:path w="327919" h="491062">
                      <a:moveTo>
                        <a:pt x="279175" y="424874"/>
                      </a:moveTo>
                      <a:cubicBezTo>
                        <a:pt x="253069" y="505057"/>
                        <a:pt x="156104" y="491123"/>
                        <a:pt x="75041" y="488482"/>
                      </a:cubicBezTo>
                      <a:cubicBezTo>
                        <a:pt x="33240" y="487135"/>
                        <a:pt x="1126" y="455072"/>
                        <a:pt x="89" y="413116"/>
                      </a:cubicBezTo>
                      <a:cubicBezTo>
                        <a:pt x="-532" y="387373"/>
                        <a:pt x="1903" y="358729"/>
                        <a:pt x="13143" y="334591"/>
                      </a:cubicBezTo>
                      <a:cubicBezTo>
                        <a:pt x="19203" y="321642"/>
                        <a:pt x="46915" y="326304"/>
                        <a:pt x="59243" y="326977"/>
                      </a:cubicBezTo>
                      <a:cubicBezTo>
                        <a:pt x="66960" y="348058"/>
                        <a:pt x="61366" y="366084"/>
                        <a:pt x="57274" y="385767"/>
                      </a:cubicBezTo>
                      <a:cubicBezTo>
                        <a:pt x="51783" y="412391"/>
                        <a:pt x="67426" y="434975"/>
                        <a:pt x="94931" y="437202"/>
                      </a:cubicBezTo>
                      <a:cubicBezTo>
                        <a:pt x="149008" y="441553"/>
                        <a:pt x="220022" y="448701"/>
                        <a:pt x="231210" y="388409"/>
                      </a:cubicBezTo>
                      <a:cubicBezTo>
                        <a:pt x="235924" y="363080"/>
                        <a:pt x="240430" y="338424"/>
                        <a:pt x="243176" y="312784"/>
                      </a:cubicBezTo>
                      <a:cubicBezTo>
                        <a:pt x="246076" y="285487"/>
                        <a:pt x="227792" y="264613"/>
                        <a:pt x="200495" y="264457"/>
                      </a:cubicBezTo>
                      <a:lnTo>
                        <a:pt x="111921" y="263991"/>
                      </a:lnTo>
                      <a:cubicBezTo>
                        <a:pt x="67064" y="263784"/>
                        <a:pt x="37021" y="225039"/>
                        <a:pt x="40492" y="179975"/>
                      </a:cubicBezTo>
                      <a:cubicBezTo>
                        <a:pt x="45050" y="120253"/>
                        <a:pt x="54115" y="8473"/>
                        <a:pt x="131293" y="3760"/>
                      </a:cubicBezTo>
                      <a:cubicBezTo>
                        <a:pt x="179102" y="859"/>
                        <a:pt x="229190" y="-3854"/>
                        <a:pt x="275808" y="5676"/>
                      </a:cubicBezTo>
                      <a:cubicBezTo>
                        <a:pt x="344440" y="19714"/>
                        <a:pt x="332941" y="134342"/>
                        <a:pt x="310720" y="147913"/>
                      </a:cubicBezTo>
                      <a:cubicBezTo>
                        <a:pt x="300930" y="153921"/>
                        <a:pt x="275238" y="158635"/>
                        <a:pt x="268505" y="146773"/>
                      </a:cubicBezTo>
                      <a:cubicBezTo>
                        <a:pt x="256591" y="125691"/>
                        <a:pt x="284148" y="89174"/>
                        <a:pt x="262910" y="64311"/>
                      </a:cubicBezTo>
                      <a:cubicBezTo>
                        <a:pt x="256436" y="56749"/>
                        <a:pt x="245973" y="51880"/>
                        <a:pt x="232453" y="51828"/>
                      </a:cubicBezTo>
                      <a:lnTo>
                        <a:pt x="168743" y="51569"/>
                      </a:lnTo>
                      <a:cubicBezTo>
                        <a:pt x="107052" y="51310"/>
                        <a:pt x="106844" y="110152"/>
                        <a:pt x="98712" y="167337"/>
                      </a:cubicBezTo>
                      <a:cubicBezTo>
                        <a:pt x="95139" y="192407"/>
                        <a:pt x="111869" y="212867"/>
                        <a:pt x="136939" y="213178"/>
                      </a:cubicBezTo>
                      <a:lnTo>
                        <a:pt x="231210" y="214421"/>
                      </a:lnTo>
                      <a:cubicBezTo>
                        <a:pt x="274203" y="214990"/>
                        <a:pt x="303054" y="250886"/>
                        <a:pt x="301034" y="294552"/>
                      </a:cubicBezTo>
                      <a:cubicBezTo>
                        <a:pt x="299014" y="338942"/>
                        <a:pt x="292746" y="382970"/>
                        <a:pt x="279123" y="424719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7" name="Graphic 2">
                  <a:extLst>
                    <a:ext uri="{FF2B5EF4-FFF2-40B4-BE49-F238E27FC236}">
                      <a16:creationId xmlns:a16="http://schemas.microsoft.com/office/drawing/2014/main" id="{873E6681-3DF0-404B-2814-CAB035CBFC4B}"/>
                    </a:ext>
                  </a:extLst>
                </p:cNvPr>
                <p:cNvGrpSpPr/>
                <p:nvPr/>
              </p:nvGrpSpPr>
              <p:grpSpPr>
                <a:xfrm>
                  <a:off x="-4451188" y="9377517"/>
                  <a:ext cx="1066841" cy="624929"/>
                  <a:chOff x="-4451188" y="9377517"/>
                  <a:chExt cx="1066841" cy="624929"/>
                </a:xfrm>
                <a:grpFill/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15BA978A-EAA1-6D42-FBF7-C4B073221693}"/>
                      </a:ext>
                    </a:extLst>
                  </p:cNvPr>
                  <p:cNvSpPr/>
                  <p:nvPr/>
                </p:nvSpPr>
                <p:spPr>
                  <a:xfrm>
                    <a:off x="-4451188" y="9377517"/>
                    <a:ext cx="371147" cy="623860"/>
                  </a:xfrm>
                  <a:custGeom>
                    <a:avLst/>
                    <a:gdLst>
                      <a:gd name="csX0" fmla="*/ 70359 w 371147"/>
                      <a:gd name="csY0" fmla="*/ 622046 h 623860"/>
                      <a:gd name="csX1" fmla="*/ 1158 w 371147"/>
                      <a:gd name="csY1" fmla="*/ 534560 h 623860"/>
                      <a:gd name="csX2" fmla="*/ 51246 w 371147"/>
                      <a:gd name="csY2" fmla="*/ 211135 h 623860"/>
                      <a:gd name="csX3" fmla="*/ 237666 w 371147"/>
                      <a:gd name="csY3" fmla="*/ 136236 h 623860"/>
                      <a:gd name="csX4" fmla="*/ 285734 w 371147"/>
                      <a:gd name="csY4" fmla="*/ 168920 h 623860"/>
                      <a:gd name="csX5" fmla="*/ 315776 w 371147"/>
                      <a:gd name="csY5" fmla="*/ 9280 h 623860"/>
                      <a:gd name="csX6" fmla="*/ 371148 w 371147"/>
                      <a:gd name="csY6" fmla="*/ 8141 h 623860"/>
                      <a:gd name="csX7" fmla="*/ 276358 w 371147"/>
                      <a:gd name="csY7" fmla="*/ 609821 h 623860"/>
                      <a:gd name="csX8" fmla="*/ 229430 w 371147"/>
                      <a:gd name="csY8" fmla="*/ 612567 h 623860"/>
                      <a:gd name="csX9" fmla="*/ 222023 w 371147"/>
                      <a:gd name="csY9" fmla="*/ 587548 h 623860"/>
                      <a:gd name="csX10" fmla="*/ 70463 w 371147"/>
                      <a:gd name="csY10" fmla="*/ 622046 h 623860"/>
                      <a:gd name="csX11" fmla="*/ 234092 w 371147"/>
                      <a:gd name="csY11" fmla="*/ 506485 h 623860"/>
                      <a:gd name="csX12" fmla="*/ 276980 w 371147"/>
                      <a:gd name="csY12" fmla="*/ 232010 h 623860"/>
                      <a:gd name="csX13" fmla="*/ 231657 w 371147"/>
                      <a:gd name="csY13" fmla="*/ 185288 h 623860"/>
                      <a:gd name="csX14" fmla="*/ 154945 w 371147"/>
                      <a:gd name="csY14" fmla="*/ 185288 h 623860"/>
                      <a:gd name="csX15" fmla="*/ 107239 w 371147"/>
                      <a:gd name="csY15" fmla="*/ 226934 h 623860"/>
                      <a:gd name="csX16" fmla="*/ 59171 w 371147"/>
                      <a:gd name="csY16" fmla="*/ 528862 h 623860"/>
                      <a:gd name="csX17" fmla="*/ 88903 w 371147"/>
                      <a:gd name="csY17" fmla="*/ 569834 h 623860"/>
                      <a:gd name="csX18" fmla="*/ 234092 w 371147"/>
                      <a:gd name="csY18" fmla="*/ 506485 h 623860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</a:cxnLst>
                    <a:rect l="l" t="t" r="r" b="b"/>
                    <a:pathLst>
                      <a:path w="371147" h="623860">
                        <a:moveTo>
                          <a:pt x="70359" y="622046"/>
                        </a:moveTo>
                        <a:cubicBezTo>
                          <a:pt x="20737" y="619922"/>
                          <a:pt x="-6042" y="580970"/>
                          <a:pt x="1158" y="534560"/>
                        </a:cubicBezTo>
                        <a:lnTo>
                          <a:pt x="51246" y="211135"/>
                        </a:lnTo>
                        <a:cubicBezTo>
                          <a:pt x="65801" y="117226"/>
                          <a:pt x="160902" y="132455"/>
                          <a:pt x="237666" y="136236"/>
                        </a:cubicBezTo>
                        <a:cubicBezTo>
                          <a:pt x="258747" y="137272"/>
                          <a:pt x="270868" y="153692"/>
                          <a:pt x="285734" y="168920"/>
                        </a:cubicBezTo>
                        <a:lnTo>
                          <a:pt x="315776" y="9280"/>
                        </a:lnTo>
                        <a:cubicBezTo>
                          <a:pt x="320749" y="-5430"/>
                          <a:pt x="360426" y="-199"/>
                          <a:pt x="371148" y="8141"/>
                        </a:cubicBezTo>
                        <a:lnTo>
                          <a:pt x="276358" y="609821"/>
                        </a:lnTo>
                        <a:cubicBezTo>
                          <a:pt x="261182" y="618679"/>
                          <a:pt x="243467" y="620233"/>
                          <a:pt x="229430" y="612567"/>
                        </a:cubicBezTo>
                        <a:cubicBezTo>
                          <a:pt x="221867" y="608423"/>
                          <a:pt x="226995" y="595266"/>
                          <a:pt x="222023" y="587548"/>
                        </a:cubicBezTo>
                        <a:cubicBezTo>
                          <a:pt x="189287" y="630281"/>
                          <a:pt x="133501" y="624739"/>
                          <a:pt x="70463" y="622046"/>
                        </a:cubicBezTo>
                        <a:close/>
                        <a:moveTo>
                          <a:pt x="234092" y="506485"/>
                        </a:moveTo>
                        <a:lnTo>
                          <a:pt x="276980" y="232010"/>
                        </a:lnTo>
                        <a:cubicBezTo>
                          <a:pt x="275737" y="204920"/>
                          <a:pt x="258799" y="185288"/>
                          <a:pt x="231657" y="185288"/>
                        </a:cubicBezTo>
                        <a:lnTo>
                          <a:pt x="154945" y="185288"/>
                        </a:lnTo>
                        <a:cubicBezTo>
                          <a:pt x="131221" y="185185"/>
                          <a:pt x="111072" y="202900"/>
                          <a:pt x="107239" y="226934"/>
                        </a:cubicBezTo>
                        <a:lnTo>
                          <a:pt x="59171" y="528862"/>
                        </a:lnTo>
                        <a:cubicBezTo>
                          <a:pt x="55753" y="550410"/>
                          <a:pt x="68236" y="567244"/>
                          <a:pt x="88903" y="569834"/>
                        </a:cubicBezTo>
                        <a:cubicBezTo>
                          <a:pt x="146916" y="577085"/>
                          <a:pt x="222748" y="578950"/>
                          <a:pt x="234092" y="506485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B151A009-07FF-2574-BB98-DA2B4B4D155B}"/>
                      </a:ext>
                    </a:extLst>
                  </p:cNvPr>
                  <p:cNvSpPr/>
                  <p:nvPr/>
                </p:nvSpPr>
                <p:spPr>
                  <a:xfrm>
                    <a:off x="-4073200" y="9512199"/>
                    <a:ext cx="333787" cy="488403"/>
                  </a:xfrm>
                  <a:custGeom>
                    <a:avLst/>
                    <a:gdLst>
                      <a:gd name="csX0" fmla="*/ 180719 w 333787"/>
                      <a:gd name="csY0" fmla="*/ 435307 h 488403"/>
                      <a:gd name="csX1" fmla="*/ 243861 w 333787"/>
                      <a:gd name="csY1" fmla="*/ 340932 h 488403"/>
                      <a:gd name="csX2" fmla="*/ 288458 w 333787"/>
                      <a:gd name="csY2" fmla="*/ 345283 h 488403"/>
                      <a:gd name="csX3" fmla="*/ 192995 w 333787"/>
                      <a:gd name="csY3" fmla="*/ 486587 h 488403"/>
                      <a:gd name="csX4" fmla="*/ 76399 w 333787"/>
                      <a:gd name="csY4" fmla="*/ 487105 h 488403"/>
                      <a:gd name="csX5" fmla="*/ 1137 w 333787"/>
                      <a:gd name="csY5" fmla="*/ 394490 h 488403"/>
                      <a:gd name="csX6" fmla="*/ 51899 w 333787"/>
                      <a:gd name="csY6" fmla="*/ 79354 h 488403"/>
                      <a:gd name="csX7" fmla="*/ 144720 w 333787"/>
                      <a:gd name="csY7" fmla="*/ 0 h 488403"/>
                      <a:gd name="csX8" fmla="*/ 259659 w 333787"/>
                      <a:gd name="csY8" fmla="*/ 0 h 488403"/>
                      <a:gd name="csX9" fmla="*/ 333522 w 333787"/>
                      <a:gd name="csY9" fmla="*/ 84689 h 488403"/>
                      <a:gd name="csX10" fmla="*/ 307468 w 333787"/>
                      <a:gd name="csY10" fmla="*/ 260231 h 488403"/>
                      <a:gd name="csX11" fmla="*/ 80853 w 333787"/>
                      <a:gd name="csY11" fmla="*/ 263805 h 488403"/>
                      <a:gd name="csX12" fmla="*/ 67904 w 333787"/>
                      <a:gd name="csY12" fmla="*/ 422617 h 488403"/>
                      <a:gd name="csX13" fmla="*/ 180667 w 333787"/>
                      <a:gd name="csY13" fmla="*/ 435359 h 488403"/>
                      <a:gd name="csX14" fmla="*/ 260280 w 333787"/>
                      <a:gd name="csY14" fmla="*/ 210557 h 488403"/>
                      <a:gd name="csX15" fmla="*/ 277529 w 333787"/>
                      <a:gd name="csY15" fmla="*/ 96395 h 488403"/>
                      <a:gd name="csX16" fmla="*/ 240545 w 333787"/>
                      <a:gd name="csY16" fmla="*/ 50658 h 488403"/>
                      <a:gd name="csX17" fmla="*/ 106856 w 333787"/>
                      <a:gd name="csY17" fmla="*/ 96137 h 488403"/>
                      <a:gd name="csX18" fmla="*/ 87069 w 333787"/>
                      <a:gd name="csY18" fmla="*/ 211541 h 488403"/>
                      <a:gd name="csX19" fmla="*/ 260280 w 333787"/>
                      <a:gd name="csY19" fmla="*/ 210609 h 488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</a:cxnLst>
                    <a:rect l="l" t="t" r="r" b="b"/>
                    <a:pathLst>
                      <a:path w="333787" h="488403">
                        <a:moveTo>
                          <a:pt x="180719" y="435307"/>
                        </a:moveTo>
                        <a:cubicBezTo>
                          <a:pt x="245311" y="426761"/>
                          <a:pt x="228528" y="353156"/>
                          <a:pt x="243861" y="340932"/>
                        </a:cubicBezTo>
                        <a:cubicBezTo>
                          <a:pt x="252666" y="333887"/>
                          <a:pt x="282657" y="335390"/>
                          <a:pt x="288458" y="345283"/>
                        </a:cubicBezTo>
                        <a:cubicBezTo>
                          <a:pt x="293534" y="353881"/>
                          <a:pt x="295244" y="479128"/>
                          <a:pt x="192995" y="486587"/>
                        </a:cubicBezTo>
                        <a:cubicBezTo>
                          <a:pt x="154458" y="489384"/>
                          <a:pt x="115765" y="488451"/>
                          <a:pt x="76399" y="487105"/>
                        </a:cubicBezTo>
                        <a:cubicBezTo>
                          <a:pt x="27606" y="485395"/>
                          <a:pt x="-6788" y="443698"/>
                          <a:pt x="1137" y="394490"/>
                        </a:cubicBezTo>
                        <a:lnTo>
                          <a:pt x="51899" y="79354"/>
                        </a:lnTo>
                        <a:cubicBezTo>
                          <a:pt x="59565" y="31804"/>
                          <a:pt x="98517" y="0"/>
                          <a:pt x="144720" y="0"/>
                        </a:cubicBezTo>
                        <a:lnTo>
                          <a:pt x="259659" y="0"/>
                        </a:lnTo>
                        <a:cubicBezTo>
                          <a:pt x="305137" y="-103"/>
                          <a:pt x="337044" y="37864"/>
                          <a:pt x="333522" y="84689"/>
                        </a:cubicBezTo>
                        <a:cubicBezTo>
                          <a:pt x="329171" y="142806"/>
                          <a:pt x="317724" y="199214"/>
                          <a:pt x="307468" y="260231"/>
                        </a:cubicBezTo>
                        <a:lnTo>
                          <a:pt x="80853" y="263805"/>
                        </a:lnTo>
                        <a:cubicBezTo>
                          <a:pt x="74897" y="300530"/>
                          <a:pt x="49620" y="400395"/>
                          <a:pt x="67904" y="422617"/>
                        </a:cubicBezTo>
                        <a:cubicBezTo>
                          <a:pt x="84427" y="442714"/>
                          <a:pt x="155028" y="438777"/>
                          <a:pt x="180667" y="435359"/>
                        </a:cubicBezTo>
                        <a:close/>
                        <a:moveTo>
                          <a:pt x="260280" y="210557"/>
                        </a:moveTo>
                        <a:lnTo>
                          <a:pt x="277529" y="96395"/>
                        </a:lnTo>
                        <a:cubicBezTo>
                          <a:pt x="281207" y="72051"/>
                          <a:pt x="266755" y="50503"/>
                          <a:pt x="240545" y="50658"/>
                        </a:cubicBezTo>
                        <a:cubicBezTo>
                          <a:pt x="183672" y="50969"/>
                          <a:pt x="117060" y="36621"/>
                          <a:pt x="106856" y="96137"/>
                        </a:cubicBezTo>
                        <a:lnTo>
                          <a:pt x="87069" y="211541"/>
                        </a:lnTo>
                        <a:lnTo>
                          <a:pt x="260280" y="210609"/>
                        </a:ln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C323BF44-B2D6-EC06-8EBD-1EF9D61ABE65}"/>
                      </a:ext>
                    </a:extLst>
                  </p:cNvPr>
                  <p:cNvSpPr/>
                  <p:nvPr/>
                </p:nvSpPr>
                <p:spPr>
                  <a:xfrm>
                    <a:off x="-3711745" y="9512044"/>
                    <a:ext cx="327398" cy="490403"/>
                  </a:xfrm>
                  <a:custGeom>
                    <a:avLst/>
                    <a:gdLst>
                      <a:gd name="csX0" fmla="*/ 280832 w 327398"/>
                      <a:gd name="csY0" fmla="*/ 415935 h 490403"/>
                      <a:gd name="csX1" fmla="*/ 71621 w 327398"/>
                      <a:gd name="csY1" fmla="*/ 486587 h 490403"/>
                      <a:gd name="csX2" fmla="*/ 2834 w 327398"/>
                      <a:gd name="csY2" fmla="*/ 430387 h 490403"/>
                      <a:gd name="csX3" fmla="*/ 13453 w 327398"/>
                      <a:gd name="csY3" fmla="*/ 332593 h 490403"/>
                      <a:gd name="csX4" fmla="*/ 92082 w 327398"/>
                      <a:gd name="csY4" fmla="*/ 435722 h 490403"/>
                      <a:gd name="csX5" fmla="*/ 229708 w 327398"/>
                      <a:gd name="csY5" fmla="*/ 391072 h 490403"/>
                      <a:gd name="csX6" fmla="*/ 206244 w 327398"/>
                      <a:gd name="csY6" fmla="*/ 264065 h 490403"/>
                      <a:gd name="csX7" fmla="*/ 106637 w 327398"/>
                      <a:gd name="csY7" fmla="*/ 262096 h 490403"/>
                      <a:gd name="csX8" fmla="*/ 38937 w 327398"/>
                      <a:gd name="csY8" fmla="*/ 179324 h 490403"/>
                      <a:gd name="csX9" fmla="*/ 144760 w 327398"/>
                      <a:gd name="csY9" fmla="*/ 311 h 490403"/>
                      <a:gd name="csX10" fmla="*/ 253172 w 327398"/>
                      <a:gd name="csY10" fmla="*/ 0 h 490403"/>
                      <a:gd name="csX11" fmla="*/ 325016 w 327398"/>
                      <a:gd name="csY11" fmla="*/ 61847 h 490403"/>
                      <a:gd name="csX12" fmla="*/ 315381 w 327398"/>
                      <a:gd name="csY12" fmla="*/ 141252 h 490403"/>
                      <a:gd name="csX13" fmla="*/ 268193 w 327398"/>
                      <a:gd name="csY13" fmla="*/ 145862 h 490403"/>
                      <a:gd name="csX14" fmla="*/ 262858 w 327398"/>
                      <a:gd name="csY14" fmla="*/ 64695 h 490403"/>
                      <a:gd name="csX15" fmla="*/ 227947 w 327398"/>
                      <a:gd name="csY15" fmla="*/ 50555 h 490403"/>
                      <a:gd name="csX16" fmla="*/ 163977 w 327398"/>
                      <a:gd name="csY16" fmla="*/ 50555 h 490403"/>
                      <a:gd name="csX17" fmla="*/ 98504 w 327398"/>
                      <a:gd name="csY17" fmla="*/ 158294 h 490403"/>
                      <a:gd name="csX18" fmla="*/ 102700 w 327398"/>
                      <a:gd name="csY18" fmla="*/ 193361 h 490403"/>
                      <a:gd name="csX19" fmla="*/ 138441 w 327398"/>
                      <a:gd name="csY19" fmla="*/ 211904 h 490403"/>
                      <a:gd name="csX20" fmla="*/ 221679 w 327398"/>
                      <a:gd name="csY20" fmla="*/ 212163 h 490403"/>
                      <a:gd name="csX21" fmla="*/ 301188 w 327398"/>
                      <a:gd name="csY21" fmla="*/ 294055 h 490403"/>
                      <a:gd name="csX22" fmla="*/ 280936 w 327398"/>
                      <a:gd name="csY22" fmla="*/ 415883 h 490403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</a:cxnLst>
                    <a:rect l="l" t="t" r="r" b="b"/>
                    <a:pathLst>
                      <a:path w="327398" h="490403">
                        <a:moveTo>
                          <a:pt x="280832" y="415935"/>
                        </a:moveTo>
                        <a:cubicBezTo>
                          <a:pt x="257627" y="502800"/>
                          <a:pt x="157606" y="492596"/>
                          <a:pt x="71621" y="486587"/>
                        </a:cubicBezTo>
                        <a:cubicBezTo>
                          <a:pt x="39196" y="484308"/>
                          <a:pt x="7962" y="462863"/>
                          <a:pt x="2834" y="430387"/>
                        </a:cubicBezTo>
                        <a:cubicBezTo>
                          <a:pt x="-2293" y="397909"/>
                          <a:pt x="-1413" y="360615"/>
                          <a:pt x="13453" y="332593"/>
                        </a:cubicBezTo>
                        <a:cubicBezTo>
                          <a:pt x="122539" y="287011"/>
                          <a:pt x="4595" y="428211"/>
                          <a:pt x="92082" y="435722"/>
                        </a:cubicBezTo>
                        <a:cubicBezTo>
                          <a:pt x="139684" y="439814"/>
                          <a:pt x="217328" y="447687"/>
                          <a:pt x="229708" y="391072"/>
                        </a:cubicBezTo>
                        <a:cubicBezTo>
                          <a:pt x="238669" y="350152"/>
                          <a:pt x="260942" y="265152"/>
                          <a:pt x="206244" y="264065"/>
                        </a:cubicBezTo>
                        <a:lnTo>
                          <a:pt x="106637" y="262096"/>
                        </a:lnTo>
                        <a:cubicBezTo>
                          <a:pt x="66131" y="261319"/>
                          <a:pt x="35985" y="220037"/>
                          <a:pt x="38937" y="179324"/>
                        </a:cubicBezTo>
                        <a:cubicBezTo>
                          <a:pt x="43962" y="110226"/>
                          <a:pt x="56134" y="570"/>
                          <a:pt x="144760" y="311"/>
                        </a:cubicBezTo>
                        <a:lnTo>
                          <a:pt x="253172" y="0"/>
                        </a:lnTo>
                        <a:cubicBezTo>
                          <a:pt x="290311" y="-103"/>
                          <a:pt x="318696" y="25433"/>
                          <a:pt x="325016" y="61847"/>
                        </a:cubicBezTo>
                        <a:cubicBezTo>
                          <a:pt x="329574" y="88004"/>
                          <a:pt x="328227" y="116390"/>
                          <a:pt x="315381" y="141252"/>
                        </a:cubicBezTo>
                        <a:cubicBezTo>
                          <a:pt x="308492" y="154513"/>
                          <a:pt x="276067" y="157051"/>
                          <a:pt x="268193" y="145862"/>
                        </a:cubicBezTo>
                        <a:cubicBezTo>
                          <a:pt x="254415" y="126231"/>
                          <a:pt x="283318" y="92200"/>
                          <a:pt x="262858" y="64695"/>
                        </a:cubicBezTo>
                        <a:cubicBezTo>
                          <a:pt x="255141" y="54336"/>
                          <a:pt x="242968" y="50555"/>
                          <a:pt x="227947" y="50555"/>
                        </a:cubicBezTo>
                        <a:lnTo>
                          <a:pt x="163977" y="50555"/>
                        </a:lnTo>
                        <a:cubicBezTo>
                          <a:pt x="103581" y="50555"/>
                          <a:pt x="105860" y="122294"/>
                          <a:pt x="98504" y="158294"/>
                        </a:cubicBezTo>
                        <a:cubicBezTo>
                          <a:pt x="95656" y="172279"/>
                          <a:pt x="96744" y="183519"/>
                          <a:pt x="102700" y="193361"/>
                        </a:cubicBezTo>
                        <a:cubicBezTo>
                          <a:pt x="109641" y="204963"/>
                          <a:pt x="122124" y="211853"/>
                          <a:pt x="138441" y="211904"/>
                        </a:cubicBezTo>
                        <a:lnTo>
                          <a:pt x="221679" y="212163"/>
                        </a:lnTo>
                        <a:cubicBezTo>
                          <a:pt x="267054" y="212319"/>
                          <a:pt x="301966" y="246816"/>
                          <a:pt x="301188" y="294055"/>
                        </a:cubicBezTo>
                        <a:cubicBezTo>
                          <a:pt x="300515" y="334872"/>
                          <a:pt x="291606" y="375999"/>
                          <a:pt x="280936" y="415883"/>
                        </a:cubicBezTo>
                        <a:close/>
                      </a:path>
                    </a:pathLst>
                  </a:custGeom>
                  <a:grpFill/>
                  <a:ln w="5174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ptos" panose="021100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60C637C-9279-1186-3F45-AB55752F1228}"/>
                    </a:ext>
                  </a:extLst>
                </p:cNvPr>
                <p:cNvSpPr/>
                <p:nvPr/>
              </p:nvSpPr>
              <p:spPr>
                <a:xfrm>
                  <a:off x="-1878616" y="9513672"/>
                  <a:ext cx="345722" cy="487808"/>
                </a:xfrm>
                <a:custGeom>
                  <a:avLst/>
                  <a:gdLst>
                    <a:gd name="csX0" fmla="*/ 345618 w 345722"/>
                    <a:gd name="csY0" fmla="*/ 8679 h 487808"/>
                    <a:gd name="csX1" fmla="*/ 272221 w 345722"/>
                    <a:gd name="csY1" fmla="*/ 470662 h 487808"/>
                    <a:gd name="csX2" fmla="*/ 226432 w 345722"/>
                    <a:gd name="csY2" fmla="*/ 476515 h 487808"/>
                    <a:gd name="csX3" fmla="*/ 217989 w 345722"/>
                    <a:gd name="csY3" fmla="*/ 451497 h 487808"/>
                    <a:gd name="csX4" fmla="*/ 64254 w 345722"/>
                    <a:gd name="csY4" fmla="*/ 485321 h 487808"/>
                    <a:gd name="csX5" fmla="*/ 905 w 345722"/>
                    <a:gd name="csY5" fmla="*/ 405241 h 487808"/>
                    <a:gd name="csX6" fmla="*/ 63425 w 345722"/>
                    <a:gd name="csY6" fmla="*/ 8058 h 487808"/>
                    <a:gd name="csX7" fmla="*/ 119263 w 345722"/>
                    <a:gd name="csY7" fmla="*/ 7333 h 487808"/>
                    <a:gd name="csX8" fmla="*/ 60006 w 345722"/>
                    <a:gd name="csY8" fmla="*/ 398767 h 487808"/>
                    <a:gd name="csX9" fmla="*/ 171112 w 345722"/>
                    <a:gd name="csY9" fmla="*/ 433005 h 487808"/>
                    <a:gd name="csX10" fmla="*/ 230627 w 345722"/>
                    <a:gd name="csY10" fmla="*/ 370071 h 487808"/>
                    <a:gd name="csX11" fmla="*/ 289263 w 345722"/>
                    <a:gd name="csY11" fmla="*/ 9923 h 487808"/>
                    <a:gd name="csX12" fmla="*/ 345722 w 345722"/>
                    <a:gd name="csY12" fmla="*/ 8783 h 48780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5722" h="487808">
                      <a:moveTo>
                        <a:pt x="345618" y="8679"/>
                      </a:moveTo>
                      <a:lnTo>
                        <a:pt x="272221" y="470662"/>
                      </a:lnTo>
                      <a:cubicBezTo>
                        <a:pt x="269942" y="484855"/>
                        <a:pt x="235083" y="483404"/>
                        <a:pt x="226432" y="476515"/>
                      </a:cubicBezTo>
                      <a:cubicBezTo>
                        <a:pt x="219750" y="470766"/>
                        <a:pt x="224153" y="460251"/>
                        <a:pt x="217989" y="451497"/>
                      </a:cubicBezTo>
                      <a:cubicBezTo>
                        <a:pt x="187998" y="494126"/>
                        <a:pt x="118227" y="489257"/>
                        <a:pt x="64254" y="485321"/>
                      </a:cubicBezTo>
                      <a:cubicBezTo>
                        <a:pt x="24939" y="482472"/>
                        <a:pt x="-5725" y="447353"/>
                        <a:pt x="905" y="405241"/>
                      </a:cubicBezTo>
                      <a:lnTo>
                        <a:pt x="63425" y="8058"/>
                      </a:lnTo>
                      <a:cubicBezTo>
                        <a:pt x="76219" y="-2820"/>
                        <a:pt x="104086" y="-1421"/>
                        <a:pt x="119263" y="7333"/>
                      </a:cubicBezTo>
                      <a:lnTo>
                        <a:pt x="60006" y="398767"/>
                      </a:lnTo>
                      <a:cubicBezTo>
                        <a:pt x="52496" y="448493"/>
                        <a:pt x="145990" y="437201"/>
                        <a:pt x="171112" y="433005"/>
                      </a:cubicBezTo>
                      <a:cubicBezTo>
                        <a:pt x="204988" y="427359"/>
                        <a:pt x="225293" y="402962"/>
                        <a:pt x="230627" y="370071"/>
                      </a:cubicBezTo>
                      <a:lnTo>
                        <a:pt x="289263" y="9923"/>
                      </a:lnTo>
                      <a:cubicBezTo>
                        <a:pt x="295841" y="-2872"/>
                        <a:pt x="331167" y="-3338"/>
                        <a:pt x="345722" y="878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C4188D57-F688-3036-756C-45314C5D63A2}"/>
                    </a:ext>
                  </a:extLst>
                </p:cNvPr>
                <p:cNvSpPr/>
                <p:nvPr/>
              </p:nvSpPr>
              <p:spPr>
                <a:xfrm>
                  <a:off x="-2824984" y="9510309"/>
                  <a:ext cx="325216" cy="490464"/>
                </a:xfrm>
                <a:custGeom>
                  <a:avLst/>
                  <a:gdLst>
                    <a:gd name="csX0" fmla="*/ 60240 w 325216"/>
                    <a:gd name="csY0" fmla="*/ 389647 h 490464"/>
                    <a:gd name="csX1" fmla="*/ 193567 w 325216"/>
                    <a:gd name="csY1" fmla="*/ 429945 h 490464"/>
                    <a:gd name="csX2" fmla="*/ 244795 w 325216"/>
                    <a:gd name="csY2" fmla="*/ 326713 h 490464"/>
                    <a:gd name="csX3" fmla="*/ 285301 w 325216"/>
                    <a:gd name="csY3" fmla="*/ 326350 h 490464"/>
                    <a:gd name="csX4" fmla="*/ 188025 w 325216"/>
                    <a:gd name="csY4" fmla="*/ 487855 h 490464"/>
                    <a:gd name="csX5" fmla="*/ 71739 w 325216"/>
                    <a:gd name="csY5" fmla="*/ 488373 h 490464"/>
                    <a:gd name="csX6" fmla="*/ 414 w 325216"/>
                    <a:gd name="csY6" fmla="*/ 408139 h 490464"/>
                    <a:gd name="csX7" fmla="*/ 50554 w 325216"/>
                    <a:gd name="csY7" fmla="*/ 85595 h 490464"/>
                    <a:gd name="csX8" fmla="*/ 254170 w 325216"/>
                    <a:gd name="csY8" fmla="*/ 2253 h 490464"/>
                    <a:gd name="csX9" fmla="*/ 323890 w 325216"/>
                    <a:gd name="csY9" fmla="*/ 66740 h 490464"/>
                    <a:gd name="csX10" fmla="*/ 311977 w 325216"/>
                    <a:gd name="csY10" fmla="*/ 150808 h 490464"/>
                    <a:gd name="csX11" fmla="*/ 264426 w 325216"/>
                    <a:gd name="csY11" fmla="*/ 158837 h 490464"/>
                    <a:gd name="csX12" fmla="*/ 234435 w 325216"/>
                    <a:gd name="csY12" fmla="*/ 52600 h 490464"/>
                    <a:gd name="csX13" fmla="*/ 164509 w 325216"/>
                    <a:gd name="csY13" fmla="*/ 52030 h 490464"/>
                    <a:gd name="csX14" fmla="*/ 106236 w 325216"/>
                    <a:gd name="csY14" fmla="*/ 97871 h 490464"/>
                    <a:gd name="csX15" fmla="*/ 60189 w 325216"/>
                    <a:gd name="csY15" fmla="*/ 389647 h 49046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5216" h="490464">
                      <a:moveTo>
                        <a:pt x="60240" y="389647"/>
                      </a:moveTo>
                      <a:cubicBezTo>
                        <a:pt x="48845" y="461904"/>
                        <a:pt x="173262" y="439010"/>
                        <a:pt x="193567" y="429945"/>
                      </a:cubicBezTo>
                      <a:cubicBezTo>
                        <a:pt x="238424" y="410003"/>
                        <a:pt x="216410" y="338419"/>
                        <a:pt x="244795" y="326713"/>
                      </a:cubicBezTo>
                      <a:cubicBezTo>
                        <a:pt x="254222" y="322828"/>
                        <a:pt x="278308" y="317130"/>
                        <a:pt x="285301" y="326350"/>
                      </a:cubicBezTo>
                      <a:cubicBezTo>
                        <a:pt x="282763" y="395655"/>
                        <a:pt x="271212" y="479878"/>
                        <a:pt x="188025" y="487855"/>
                      </a:cubicBezTo>
                      <a:cubicBezTo>
                        <a:pt x="149229" y="491584"/>
                        <a:pt x="112193" y="490911"/>
                        <a:pt x="71739" y="488373"/>
                      </a:cubicBezTo>
                      <a:cubicBezTo>
                        <a:pt x="34497" y="486042"/>
                        <a:pt x="-4455" y="450716"/>
                        <a:pt x="414" y="408139"/>
                      </a:cubicBezTo>
                      <a:cubicBezTo>
                        <a:pt x="12949" y="299157"/>
                        <a:pt x="32270" y="193437"/>
                        <a:pt x="50554" y="85595"/>
                      </a:cubicBezTo>
                      <a:cubicBezTo>
                        <a:pt x="67596" y="-14841"/>
                        <a:pt x="164043" y="-441"/>
                        <a:pt x="254170" y="2253"/>
                      </a:cubicBezTo>
                      <a:cubicBezTo>
                        <a:pt x="291309" y="3392"/>
                        <a:pt x="320057" y="29964"/>
                        <a:pt x="323890" y="66740"/>
                      </a:cubicBezTo>
                      <a:cubicBezTo>
                        <a:pt x="326791" y="94867"/>
                        <a:pt x="325806" y="124858"/>
                        <a:pt x="311977" y="150808"/>
                      </a:cubicBezTo>
                      <a:cubicBezTo>
                        <a:pt x="305502" y="162929"/>
                        <a:pt x="272403" y="167487"/>
                        <a:pt x="264426" y="158837"/>
                      </a:cubicBezTo>
                      <a:cubicBezTo>
                        <a:pt x="253290" y="140604"/>
                        <a:pt x="294262" y="53118"/>
                        <a:pt x="234435" y="52600"/>
                      </a:cubicBezTo>
                      <a:lnTo>
                        <a:pt x="164509" y="52030"/>
                      </a:lnTo>
                      <a:cubicBezTo>
                        <a:pt x="136693" y="51771"/>
                        <a:pt x="110846" y="68761"/>
                        <a:pt x="106236" y="97871"/>
                      </a:cubicBezTo>
                      <a:lnTo>
                        <a:pt x="60189" y="389647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7A16230B-0BD5-B715-4FB6-B281F6734C14}"/>
                    </a:ext>
                  </a:extLst>
                </p:cNvPr>
                <p:cNvSpPr/>
                <p:nvPr/>
              </p:nvSpPr>
              <p:spPr>
                <a:xfrm>
                  <a:off x="-2463022" y="9408273"/>
                  <a:ext cx="217998" cy="586711"/>
                </a:xfrm>
                <a:custGeom>
                  <a:avLst/>
                  <a:gdLst>
                    <a:gd name="csX0" fmla="*/ 145395 w 217998"/>
                    <a:gd name="csY0" fmla="*/ 541254 h 586711"/>
                    <a:gd name="csX1" fmla="*/ 136745 w 217998"/>
                    <a:gd name="csY1" fmla="*/ 581345 h 586711"/>
                    <a:gd name="csX2" fmla="*/ 53973 w 217998"/>
                    <a:gd name="csY2" fmla="*/ 582744 h 586711"/>
                    <a:gd name="csX3" fmla="*/ 880 w 217998"/>
                    <a:gd name="csY3" fmla="*/ 503959 h 586711"/>
                    <a:gd name="csX4" fmla="*/ 52470 w 217998"/>
                    <a:gd name="csY4" fmla="*/ 161888 h 586711"/>
                    <a:gd name="csX5" fmla="*/ 15435 w 217998"/>
                    <a:gd name="csY5" fmla="*/ 152824 h 586711"/>
                    <a:gd name="csX6" fmla="*/ 18595 w 217998"/>
                    <a:gd name="csY6" fmla="*/ 114390 h 586711"/>
                    <a:gd name="csX7" fmla="*/ 57547 w 217998"/>
                    <a:gd name="csY7" fmla="*/ 105740 h 586711"/>
                    <a:gd name="csX8" fmla="*/ 80182 w 217998"/>
                    <a:gd name="csY8" fmla="*/ 13177 h 586711"/>
                    <a:gd name="csX9" fmla="*/ 133689 w 217998"/>
                    <a:gd name="csY9" fmla="*/ 1471 h 586711"/>
                    <a:gd name="csX10" fmla="*/ 121724 w 217998"/>
                    <a:gd name="csY10" fmla="*/ 105170 h 586711"/>
                    <a:gd name="csX11" fmla="*/ 217290 w 217998"/>
                    <a:gd name="csY11" fmla="*/ 110194 h 586711"/>
                    <a:gd name="csX12" fmla="*/ 201492 w 217998"/>
                    <a:gd name="csY12" fmla="*/ 154844 h 586711"/>
                    <a:gd name="csX13" fmla="*/ 112452 w 217998"/>
                    <a:gd name="csY13" fmla="*/ 159454 h 586711"/>
                    <a:gd name="csX14" fmla="*/ 58842 w 217998"/>
                    <a:gd name="csY14" fmla="*/ 492616 h 586711"/>
                    <a:gd name="csX15" fmla="*/ 66715 w 217998"/>
                    <a:gd name="csY15" fmla="*/ 522503 h 586711"/>
                    <a:gd name="csX16" fmla="*/ 145343 w 217998"/>
                    <a:gd name="csY16" fmla="*/ 541357 h 58671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7998" h="586711">
                      <a:moveTo>
                        <a:pt x="145395" y="541254"/>
                      </a:moveTo>
                      <a:cubicBezTo>
                        <a:pt x="153113" y="547987"/>
                        <a:pt x="146535" y="578392"/>
                        <a:pt x="136745" y="581345"/>
                      </a:cubicBezTo>
                      <a:cubicBezTo>
                        <a:pt x="110639" y="589374"/>
                        <a:pt x="80648" y="587146"/>
                        <a:pt x="53973" y="582744"/>
                      </a:cubicBezTo>
                      <a:cubicBezTo>
                        <a:pt x="17196" y="576632"/>
                        <a:pt x="-4766" y="541357"/>
                        <a:pt x="880" y="503959"/>
                      </a:cubicBezTo>
                      <a:lnTo>
                        <a:pt x="52470" y="161888"/>
                      </a:lnTo>
                      <a:cubicBezTo>
                        <a:pt x="41748" y="153704"/>
                        <a:pt x="25070" y="162095"/>
                        <a:pt x="15435" y="152824"/>
                      </a:cubicBezTo>
                      <a:cubicBezTo>
                        <a:pt x="5231" y="142982"/>
                        <a:pt x="13570" y="124387"/>
                        <a:pt x="18595" y="114390"/>
                      </a:cubicBezTo>
                      <a:cubicBezTo>
                        <a:pt x="23619" y="104393"/>
                        <a:pt x="46099" y="109832"/>
                        <a:pt x="57547" y="105740"/>
                      </a:cubicBezTo>
                      <a:cubicBezTo>
                        <a:pt x="75261" y="79478"/>
                        <a:pt x="63866" y="41044"/>
                        <a:pt x="80182" y="13177"/>
                      </a:cubicBezTo>
                      <a:cubicBezTo>
                        <a:pt x="88936" y="-1792"/>
                        <a:pt x="119341" y="-1171"/>
                        <a:pt x="133689" y="1471"/>
                      </a:cubicBezTo>
                      <a:lnTo>
                        <a:pt x="121724" y="105170"/>
                      </a:lnTo>
                      <a:lnTo>
                        <a:pt x="217290" y="110194"/>
                      </a:lnTo>
                      <a:cubicBezTo>
                        <a:pt x="219777" y="122626"/>
                        <a:pt x="215995" y="150493"/>
                        <a:pt x="201492" y="154844"/>
                      </a:cubicBezTo>
                      <a:cubicBezTo>
                        <a:pt x="172848" y="163390"/>
                        <a:pt x="144618" y="153031"/>
                        <a:pt x="112452" y="159454"/>
                      </a:cubicBezTo>
                      <a:lnTo>
                        <a:pt x="58842" y="492616"/>
                      </a:lnTo>
                      <a:cubicBezTo>
                        <a:pt x="56925" y="504374"/>
                        <a:pt x="62001" y="516080"/>
                        <a:pt x="66715" y="522503"/>
                      </a:cubicBezTo>
                      <a:cubicBezTo>
                        <a:pt x="84585" y="546692"/>
                        <a:pt x="126903" y="525248"/>
                        <a:pt x="145343" y="541357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0F25A27F-C898-8778-A37B-16C8D426368C}"/>
                    </a:ext>
                  </a:extLst>
                </p:cNvPr>
                <p:cNvSpPr/>
                <p:nvPr/>
              </p:nvSpPr>
              <p:spPr>
                <a:xfrm>
                  <a:off x="-1510569" y="9511394"/>
                  <a:ext cx="255369" cy="483531"/>
                </a:xfrm>
                <a:custGeom>
                  <a:avLst/>
                  <a:gdLst>
                    <a:gd name="csX0" fmla="*/ 234799 w 255369"/>
                    <a:gd name="csY0" fmla="*/ 51981 h 483531"/>
                    <a:gd name="csX1" fmla="*/ 114369 w 255369"/>
                    <a:gd name="csY1" fmla="*/ 137240 h 483531"/>
                    <a:gd name="csX2" fmla="*/ 56977 w 255369"/>
                    <a:gd name="csY2" fmla="*/ 476825 h 483531"/>
                    <a:gd name="csX3" fmla="*/ 0 w 255369"/>
                    <a:gd name="csY3" fmla="*/ 476255 h 483531"/>
                    <a:gd name="csX4" fmla="*/ 75676 w 255369"/>
                    <a:gd name="csY4" fmla="*/ 10647 h 483531"/>
                    <a:gd name="csX5" fmla="*/ 123279 w 255369"/>
                    <a:gd name="csY5" fmla="*/ 10181 h 483531"/>
                    <a:gd name="csX6" fmla="*/ 124211 w 255369"/>
                    <a:gd name="csY6" fmla="*/ 51567 h 483531"/>
                    <a:gd name="csX7" fmla="*/ 254171 w 255369"/>
                    <a:gd name="csY7" fmla="*/ 5415 h 483531"/>
                    <a:gd name="csX8" fmla="*/ 234850 w 255369"/>
                    <a:gd name="csY8" fmla="*/ 51981 h 4835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5369" h="483531">
                      <a:moveTo>
                        <a:pt x="234799" y="51981"/>
                      </a:moveTo>
                      <a:cubicBezTo>
                        <a:pt x="175438" y="43383"/>
                        <a:pt x="124314" y="78294"/>
                        <a:pt x="114369" y="137240"/>
                      </a:cubicBezTo>
                      <a:lnTo>
                        <a:pt x="56977" y="476825"/>
                      </a:lnTo>
                      <a:cubicBezTo>
                        <a:pt x="40765" y="486511"/>
                        <a:pt x="17715" y="485165"/>
                        <a:pt x="0" y="476255"/>
                      </a:cubicBezTo>
                      <a:lnTo>
                        <a:pt x="75676" y="10647"/>
                      </a:lnTo>
                      <a:cubicBezTo>
                        <a:pt x="79095" y="-800"/>
                        <a:pt x="123019" y="-593"/>
                        <a:pt x="123279" y="10181"/>
                      </a:cubicBezTo>
                      <a:lnTo>
                        <a:pt x="124211" y="51567"/>
                      </a:lnTo>
                      <a:cubicBezTo>
                        <a:pt x="149747" y="8212"/>
                        <a:pt x="206724" y="-10021"/>
                        <a:pt x="254171" y="5415"/>
                      </a:cubicBezTo>
                      <a:cubicBezTo>
                        <a:pt x="258781" y="20799"/>
                        <a:pt x="249613" y="40171"/>
                        <a:pt x="234850" y="519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C7DA83B-4C53-7E04-25FD-C7F4432E4A11}"/>
                  </a:ext>
                </a:extLst>
              </p:cNvPr>
              <p:cNvSpPr/>
              <p:nvPr/>
            </p:nvSpPr>
            <p:spPr>
              <a:xfrm>
                <a:off x="-1578343" y="8905672"/>
                <a:ext cx="202120" cy="58536"/>
              </a:xfrm>
              <a:custGeom>
                <a:avLst/>
                <a:gdLst>
                  <a:gd name="csX0" fmla="*/ 177274 w 202120"/>
                  <a:gd name="csY0" fmla="*/ 55453 h 58536"/>
                  <a:gd name="csX1" fmla="*/ 3545 w 202120"/>
                  <a:gd name="csY1" fmla="*/ 55453 h 58536"/>
                  <a:gd name="csX2" fmla="*/ 24575 w 202120"/>
                  <a:gd name="csY2" fmla="*/ 3552 h 58536"/>
                  <a:gd name="csX3" fmla="*/ 198304 w 202120"/>
                  <a:gd name="csY3" fmla="*/ 2671 h 58536"/>
                  <a:gd name="csX4" fmla="*/ 177274 w 202120"/>
                  <a:gd name="csY4" fmla="*/ 55453 h 585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202120" h="58536">
                    <a:moveTo>
                      <a:pt x="177274" y="55453"/>
                    </a:moveTo>
                    <a:cubicBezTo>
                      <a:pt x="118328" y="60115"/>
                      <a:pt x="58347" y="58975"/>
                      <a:pt x="3545" y="55453"/>
                    </a:cubicBezTo>
                    <a:cubicBezTo>
                      <a:pt x="-6659" y="42659"/>
                      <a:pt x="6653" y="5468"/>
                      <a:pt x="24575" y="3552"/>
                    </a:cubicBezTo>
                    <a:cubicBezTo>
                      <a:pt x="80568" y="-2405"/>
                      <a:pt x="141741" y="444"/>
                      <a:pt x="198304" y="2671"/>
                    </a:cubicBezTo>
                    <a:cubicBezTo>
                      <a:pt x="208249" y="14326"/>
                      <a:pt x="197889" y="53847"/>
                      <a:pt x="177274" y="55453"/>
                    </a:cubicBezTo>
                    <a:close/>
                  </a:path>
                </a:pathLst>
              </a:custGeom>
              <a:grpFill/>
              <a:ln w="5174" cap="flat">
                <a:noFill/>
                <a:prstDash val="solid"/>
                <a:miter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grpSp>
            <p:nvGrpSpPr>
              <p:cNvPr id="130" name="Graphic 2">
                <a:extLst>
                  <a:ext uri="{FF2B5EF4-FFF2-40B4-BE49-F238E27FC236}">
                    <a16:creationId xmlns:a16="http://schemas.microsoft.com/office/drawing/2014/main" id="{189F3B55-97B3-5200-5216-C8533F594157}"/>
                  </a:ext>
                </a:extLst>
              </p:cNvPr>
              <p:cNvGrpSpPr/>
              <p:nvPr/>
            </p:nvGrpSpPr>
            <p:grpSpPr>
              <a:xfrm>
                <a:off x="-4457913" y="10177911"/>
                <a:ext cx="3479931" cy="633371"/>
                <a:chOff x="-4457913" y="10177911"/>
                <a:chExt cx="3479931" cy="633371"/>
              </a:xfrm>
              <a:grp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8D79A7F2-0FC7-CC51-E2B0-A2A23F2F912C}"/>
                    </a:ext>
                  </a:extLst>
                </p:cNvPr>
                <p:cNvSpPr/>
                <p:nvPr/>
              </p:nvSpPr>
              <p:spPr>
                <a:xfrm>
                  <a:off x="-2408149" y="10315887"/>
                  <a:ext cx="337564" cy="490484"/>
                </a:xfrm>
                <a:custGeom>
                  <a:avLst/>
                  <a:gdLst>
                    <a:gd name="csX0" fmla="*/ 113261 w 337564"/>
                    <a:gd name="csY0" fmla="*/ 218590 h 490484"/>
                    <a:gd name="csX1" fmla="*/ 258864 w 337564"/>
                    <a:gd name="csY1" fmla="*/ 216104 h 490484"/>
                    <a:gd name="csX2" fmla="*/ 242392 w 337564"/>
                    <a:gd name="csY2" fmla="*/ 53304 h 490484"/>
                    <a:gd name="csX3" fmla="*/ 166664 w 337564"/>
                    <a:gd name="csY3" fmla="*/ 53148 h 490484"/>
                    <a:gd name="csX4" fmla="*/ 98499 w 337564"/>
                    <a:gd name="csY4" fmla="*/ 155759 h 490484"/>
                    <a:gd name="csX5" fmla="*/ 54315 w 337564"/>
                    <a:gd name="csY5" fmla="*/ 148301 h 490484"/>
                    <a:gd name="csX6" fmla="*/ 66436 w 337564"/>
                    <a:gd name="csY6" fmla="*/ 67030 h 490484"/>
                    <a:gd name="csX7" fmla="*/ 262645 w 337564"/>
                    <a:gd name="csY7" fmla="*/ 2179 h 490484"/>
                    <a:gd name="csX8" fmla="*/ 336508 w 337564"/>
                    <a:gd name="csY8" fmla="*/ 92566 h 490484"/>
                    <a:gd name="csX9" fmla="*/ 280567 w 337564"/>
                    <a:gd name="csY9" fmla="*/ 458672 h 490484"/>
                    <a:gd name="csX10" fmla="*/ 252130 w 337564"/>
                    <a:gd name="csY10" fmla="*/ 490320 h 490484"/>
                    <a:gd name="csX11" fmla="*/ 222657 w 337564"/>
                    <a:gd name="csY11" fmla="*/ 459086 h 490484"/>
                    <a:gd name="csX12" fmla="*/ 172155 w 337564"/>
                    <a:gd name="csY12" fmla="*/ 488455 h 490484"/>
                    <a:gd name="csX13" fmla="*/ 59029 w 337564"/>
                    <a:gd name="csY13" fmla="*/ 488611 h 490484"/>
                    <a:gd name="csX14" fmla="*/ 342 w 337564"/>
                    <a:gd name="csY14" fmla="*/ 408842 h 490484"/>
                    <a:gd name="csX15" fmla="*/ 113261 w 337564"/>
                    <a:gd name="csY15" fmla="*/ 218642 h 490484"/>
                    <a:gd name="csX16" fmla="*/ 233431 w 337564"/>
                    <a:gd name="csY16" fmla="*/ 380975 h 490484"/>
                    <a:gd name="csX17" fmla="*/ 249955 w 337564"/>
                    <a:gd name="csY17" fmla="*/ 271527 h 490484"/>
                    <a:gd name="csX18" fmla="*/ 70632 w 337564"/>
                    <a:gd name="csY18" fmla="*/ 323843 h 490484"/>
                    <a:gd name="csX19" fmla="*/ 59961 w 337564"/>
                    <a:gd name="csY19" fmla="*/ 396048 h 490484"/>
                    <a:gd name="csX20" fmla="*/ 91920 w 337564"/>
                    <a:gd name="csY20" fmla="*/ 438315 h 490484"/>
                    <a:gd name="csX21" fmla="*/ 233483 w 337564"/>
                    <a:gd name="csY21" fmla="*/ 380975 h 49048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</a:cxnLst>
                  <a:rect l="l" t="t" r="r" b="b"/>
                  <a:pathLst>
                    <a:path w="337564" h="490484">
                      <a:moveTo>
                        <a:pt x="113261" y="218590"/>
                      </a:moveTo>
                      <a:lnTo>
                        <a:pt x="258864" y="216104"/>
                      </a:lnTo>
                      <a:cubicBezTo>
                        <a:pt x="261972" y="163995"/>
                        <a:pt x="309263" y="58846"/>
                        <a:pt x="242392" y="53304"/>
                      </a:cubicBezTo>
                      <a:cubicBezTo>
                        <a:pt x="217167" y="51180"/>
                        <a:pt x="191993" y="51284"/>
                        <a:pt x="166664" y="53148"/>
                      </a:cubicBezTo>
                      <a:cubicBezTo>
                        <a:pt x="96582" y="58380"/>
                        <a:pt x="119062" y="138666"/>
                        <a:pt x="98499" y="155759"/>
                      </a:cubicBezTo>
                      <a:cubicBezTo>
                        <a:pt x="89382" y="163322"/>
                        <a:pt x="56802" y="159333"/>
                        <a:pt x="54315" y="148301"/>
                      </a:cubicBezTo>
                      <a:cubicBezTo>
                        <a:pt x="48255" y="121573"/>
                        <a:pt x="58977" y="91686"/>
                        <a:pt x="66436" y="67030"/>
                      </a:cubicBezTo>
                      <a:cubicBezTo>
                        <a:pt x="90315" y="-12168"/>
                        <a:pt x="183395" y="-514"/>
                        <a:pt x="262645" y="2179"/>
                      </a:cubicBezTo>
                      <a:cubicBezTo>
                        <a:pt x="310144" y="3785"/>
                        <a:pt x="344071" y="42996"/>
                        <a:pt x="336508" y="92566"/>
                      </a:cubicBezTo>
                      <a:lnTo>
                        <a:pt x="280567" y="458672"/>
                      </a:lnTo>
                      <a:cubicBezTo>
                        <a:pt x="277408" y="479184"/>
                        <a:pt x="269845" y="488818"/>
                        <a:pt x="252130" y="490320"/>
                      </a:cubicBezTo>
                      <a:cubicBezTo>
                        <a:pt x="232810" y="491926"/>
                        <a:pt x="225196" y="481773"/>
                        <a:pt x="222657" y="459086"/>
                      </a:cubicBezTo>
                      <a:cubicBezTo>
                        <a:pt x="205564" y="469756"/>
                        <a:pt x="193495" y="487523"/>
                        <a:pt x="172155" y="488455"/>
                      </a:cubicBezTo>
                      <a:cubicBezTo>
                        <a:pt x="134602" y="490113"/>
                        <a:pt x="97048" y="491201"/>
                        <a:pt x="59029" y="488611"/>
                      </a:cubicBezTo>
                      <a:cubicBezTo>
                        <a:pt x="19300" y="485917"/>
                        <a:pt x="-3076" y="446396"/>
                        <a:pt x="342" y="408842"/>
                      </a:cubicBezTo>
                      <a:cubicBezTo>
                        <a:pt x="7542" y="328608"/>
                        <a:pt x="13706" y="220351"/>
                        <a:pt x="113261" y="218642"/>
                      </a:cubicBezTo>
                      <a:close/>
                      <a:moveTo>
                        <a:pt x="233431" y="380975"/>
                      </a:moveTo>
                      <a:cubicBezTo>
                        <a:pt x="240476" y="343888"/>
                        <a:pt x="246122" y="309236"/>
                        <a:pt x="249955" y="271527"/>
                      </a:cubicBezTo>
                      <a:cubicBezTo>
                        <a:pt x="171326" y="278209"/>
                        <a:pt x="82700" y="241899"/>
                        <a:pt x="70632" y="323843"/>
                      </a:cubicBezTo>
                      <a:lnTo>
                        <a:pt x="59961" y="396048"/>
                      </a:lnTo>
                      <a:cubicBezTo>
                        <a:pt x="56646" y="418632"/>
                        <a:pt x="67524" y="437538"/>
                        <a:pt x="91920" y="438315"/>
                      </a:cubicBezTo>
                      <a:cubicBezTo>
                        <a:pt x="148691" y="440180"/>
                        <a:pt x="220430" y="449866"/>
                        <a:pt x="233483" y="380975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4F0776C9-EEC2-A0BA-EC90-DF88ACC1DBDF}"/>
                    </a:ext>
                  </a:extLst>
                </p:cNvPr>
                <p:cNvSpPr/>
                <p:nvPr/>
              </p:nvSpPr>
              <p:spPr>
                <a:xfrm>
                  <a:off x="-4129365" y="10316065"/>
                  <a:ext cx="336142" cy="491030"/>
                </a:xfrm>
                <a:custGeom>
                  <a:avLst/>
                  <a:gdLst>
                    <a:gd name="csX0" fmla="*/ 109255 w 336142"/>
                    <a:gd name="csY0" fmla="*/ 219033 h 491030"/>
                    <a:gd name="csX1" fmla="*/ 256982 w 336142"/>
                    <a:gd name="csY1" fmla="*/ 216132 h 491030"/>
                    <a:gd name="csX2" fmla="*/ 244499 w 336142"/>
                    <a:gd name="csY2" fmla="*/ 53954 h 491030"/>
                    <a:gd name="csX3" fmla="*/ 158359 w 336142"/>
                    <a:gd name="csY3" fmla="*/ 54058 h 491030"/>
                    <a:gd name="csX4" fmla="*/ 97911 w 336142"/>
                    <a:gd name="csY4" fmla="*/ 153975 h 491030"/>
                    <a:gd name="csX5" fmla="*/ 51812 w 336142"/>
                    <a:gd name="csY5" fmla="*/ 146413 h 491030"/>
                    <a:gd name="csX6" fmla="*/ 65227 w 336142"/>
                    <a:gd name="csY6" fmla="*/ 64935 h 491030"/>
                    <a:gd name="csX7" fmla="*/ 259520 w 336142"/>
                    <a:gd name="csY7" fmla="*/ 1846 h 491030"/>
                    <a:gd name="csX8" fmla="*/ 335300 w 336142"/>
                    <a:gd name="csY8" fmla="*/ 86120 h 491030"/>
                    <a:gd name="csX9" fmla="*/ 277856 w 336142"/>
                    <a:gd name="csY9" fmla="*/ 465020 h 491030"/>
                    <a:gd name="csX10" fmla="*/ 248487 w 336142"/>
                    <a:gd name="csY10" fmla="*/ 490038 h 491030"/>
                    <a:gd name="csX11" fmla="*/ 222640 w 336142"/>
                    <a:gd name="csY11" fmla="*/ 454246 h 491030"/>
                    <a:gd name="csX12" fmla="*/ 61291 w 336142"/>
                    <a:gd name="csY12" fmla="*/ 488847 h 491030"/>
                    <a:gd name="csX13" fmla="*/ 16797 w 336142"/>
                    <a:gd name="csY13" fmla="*/ 294243 h 491030"/>
                    <a:gd name="csX14" fmla="*/ 109255 w 336142"/>
                    <a:gd name="csY14" fmla="*/ 218981 h 491030"/>
                    <a:gd name="csX15" fmla="*/ 232482 w 336142"/>
                    <a:gd name="csY15" fmla="*/ 376860 h 491030"/>
                    <a:gd name="csX16" fmla="*/ 247866 w 336142"/>
                    <a:gd name="csY16" fmla="*/ 272695 h 491030"/>
                    <a:gd name="csX17" fmla="*/ 118941 w 336142"/>
                    <a:gd name="csY17" fmla="*/ 270986 h 491030"/>
                    <a:gd name="csX18" fmla="*/ 57354 w 336142"/>
                    <a:gd name="csY18" fmla="*/ 402759 h 491030"/>
                    <a:gd name="csX19" fmla="*/ 93405 w 336142"/>
                    <a:gd name="csY19" fmla="*/ 438603 h 491030"/>
                    <a:gd name="csX20" fmla="*/ 232482 w 336142"/>
                    <a:gd name="csY20" fmla="*/ 376860 h 49103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</a:cxnLst>
                  <a:rect l="l" t="t" r="r" b="b"/>
                  <a:pathLst>
                    <a:path w="336142" h="491030">
                      <a:moveTo>
                        <a:pt x="109255" y="219033"/>
                      </a:moveTo>
                      <a:lnTo>
                        <a:pt x="256982" y="216132"/>
                      </a:lnTo>
                      <a:cubicBezTo>
                        <a:pt x="259986" y="167857"/>
                        <a:pt x="304791" y="61931"/>
                        <a:pt x="244499" y="53954"/>
                      </a:cubicBezTo>
                      <a:cubicBezTo>
                        <a:pt x="216062" y="50225"/>
                        <a:pt x="186848" y="50691"/>
                        <a:pt x="158359" y="54058"/>
                      </a:cubicBezTo>
                      <a:cubicBezTo>
                        <a:pt x="101020" y="60895"/>
                        <a:pt x="114798" y="129838"/>
                        <a:pt x="97911" y="153975"/>
                      </a:cubicBezTo>
                      <a:cubicBezTo>
                        <a:pt x="90971" y="163920"/>
                        <a:pt x="54557" y="159051"/>
                        <a:pt x="51812" y="146413"/>
                      </a:cubicBezTo>
                      <a:cubicBezTo>
                        <a:pt x="45959" y="119581"/>
                        <a:pt x="57147" y="89798"/>
                        <a:pt x="65227" y="64935"/>
                      </a:cubicBezTo>
                      <a:cubicBezTo>
                        <a:pt x="90608" y="-12968"/>
                        <a:pt x="181409" y="188"/>
                        <a:pt x="259520" y="1846"/>
                      </a:cubicBezTo>
                      <a:cubicBezTo>
                        <a:pt x="301787" y="2726"/>
                        <a:pt x="342552" y="38415"/>
                        <a:pt x="335300" y="86120"/>
                      </a:cubicBezTo>
                      <a:lnTo>
                        <a:pt x="277856" y="465020"/>
                      </a:lnTo>
                      <a:cubicBezTo>
                        <a:pt x="274800" y="485013"/>
                        <a:pt x="262058" y="489054"/>
                        <a:pt x="248487" y="490038"/>
                      </a:cubicBezTo>
                      <a:cubicBezTo>
                        <a:pt x="227250" y="491592"/>
                        <a:pt x="224090" y="475327"/>
                        <a:pt x="222640" y="454246"/>
                      </a:cubicBezTo>
                      <a:cubicBezTo>
                        <a:pt x="189956" y="500604"/>
                        <a:pt x="132201" y="490763"/>
                        <a:pt x="61291" y="488847"/>
                      </a:cubicBezTo>
                      <a:cubicBezTo>
                        <a:pt x="-29977" y="486360"/>
                        <a:pt x="4210" y="353292"/>
                        <a:pt x="16797" y="294243"/>
                      </a:cubicBezTo>
                      <a:cubicBezTo>
                        <a:pt x="26379" y="249179"/>
                        <a:pt x="60773" y="219965"/>
                        <a:pt x="109255" y="218981"/>
                      </a:cubicBezTo>
                      <a:close/>
                      <a:moveTo>
                        <a:pt x="232482" y="376860"/>
                      </a:moveTo>
                      <a:cubicBezTo>
                        <a:pt x="237920" y="342518"/>
                        <a:pt x="244913" y="311025"/>
                        <a:pt x="247866" y="272695"/>
                      </a:cubicBezTo>
                      <a:cubicBezTo>
                        <a:pt x="204822" y="268551"/>
                        <a:pt x="162762" y="270934"/>
                        <a:pt x="118941" y="270986"/>
                      </a:cubicBezTo>
                      <a:cubicBezTo>
                        <a:pt x="64813" y="271038"/>
                        <a:pt x="64450" y="347491"/>
                        <a:pt x="57354" y="402759"/>
                      </a:cubicBezTo>
                      <a:cubicBezTo>
                        <a:pt x="54712" y="423219"/>
                        <a:pt x="73308" y="439017"/>
                        <a:pt x="93405" y="438603"/>
                      </a:cubicBezTo>
                      <a:cubicBezTo>
                        <a:pt x="144426" y="437515"/>
                        <a:pt x="220413" y="453106"/>
                        <a:pt x="232482" y="37686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2689FEC5-B002-6348-60DB-929E618ADA34}"/>
                    </a:ext>
                  </a:extLst>
                </p:cNvPr>
                <p:cNvSpPr/>
                <p:nvPr/>
              </p:nvSpPr>
              <p:spPr>
                <a:xfrm>
                  <a:off x="-3372090" y="10315382"/>
                  <a:ext cx="333045" cy="490679"/>
                </a:xfrm>
                <a:custGeom>
                  <a:avLst/>
                  <a:gdLst>
                    <a:gd name="csX0" fmla="*/ 170175 w 333045"/>
                    <a:gd name="csY0" fmla="*/ 439337 h 490679"/>
                    <a:gd name="csX1" fmla="*/ 252688 w 333045"/>
                    <a:gd name="csY1" fmla="*/ 341492 h 490679"/>
                    <a:gd name="csX2" fmla="*/ 291692 w 333045"/>
                    <a:gd name="csY2" fmla="*/ 357601 h 490679"/>
                    <a:gd name="csX3" fmla="*/ 198923 w 333045"/>
                    <a:gd name="csY3" fmla="*/ 489270 h 490679"/>
                    <a:gd name="csX4" fmla="*/ 65388 w 333045"/>
                    <a:gd name="csY4" fmla="*/ 488752 h 490679"/>
                    <a:gd name="csX5" fmla="*/ 1108 w 333045"/>
                    <a:gd name="csY5" fmla="*/ 396086 h 490679"/>
                    <a:gd name="csX6" fmla="*/ 51248 w 333045"/>
                    <a:gd name="csY6" fmla="*/ 86337 h 490679"/>
                    <a:gd name="csX7" fmla="*/ 261960 w 333045"/>
                    <a:gd name="csY7" fmla="*/ 2995 h 490679"/>
                    <a:gd name="csX8" fmla="*/ 332975 w 333045"/>
                    <a:gd name="csY8" fmla="*/ 79655 h 490679"/>
                    <a:gd name="csX9" fmla="*/ 306765 w 333045"/>
                    <a:gd name="csY9" fmla="*/ 263588 h 490679"/>
                    <a:gd name="csX10" fmla="*/ 80979 w 333045"/>
                    <a:gd name="csY10" fmla="*/ 265764 h 490679"/>
                    <a:gd name="csX11" fmla="*/ 92996 w 333045"/>
                    <a:gd name="csY11" fmla="*/ 438301 h 490679"/>
                    <a:gd name="csX12" fmla="*/ 170278 w 333045"/>
                    <a:gd name="csY12" fmla="*/ 439389 h 490679"/>
                    <a:gd name="csX13" fmla="*/ 259526 w 333045"/>
                    <a:gd name="csY13" fmla="*/ 216349 h 490679"/>
                    <a:gd name="csX14" fmla="*/ 278018 w 333045"/>
                    <a:gd name="csY14" fmla="*/ 96282 h 490679"/>
                    <a:gd name="csX15" fmla="*/ 242588 w 333045"/>
                    <a:gd name="csY15" fmla="*/ 53704 h 490679"/>
                    <a:gd name="csX16" fmla="*/ 107707 w 333045"/>
                    <a:gd name="csY16" fmla="*/ 96593 h 490679"/>
                    <a:gd name="csX17" fmla="*/ 89578 w 333045"/>
                    <a:gd name="csY17" fmla="*/ 216970 h 490679"/>
                    <a:gd name="csX18" fmla="*/ 259526 w 333045"/>
                    <a:gd name="csY18" fmla="*/ 216400 h 49067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3045" h="490679">
                      <a:moveTo>
                        <a:pt x="170175" y="439337"/>
                      </a:moveTo>
                      <a:cubicBezTo>
                        <a:pt x="253414" y="440891"/>
                        <a:pt x="221195" y="344133"/>
                        <a:pt x="252688" y="341492"/>
                      </a:cubicBezTo>
                      <a:cubicBezTo>
                        <a:pt x="266259" y="340352"/>
                        <a:pt x="291588" y="338798"/>
                        <a:pt x="291692" y="357601"/>
                      </a:cubicBezTo>
                      <a:cubicBezTo>
                        <a:pt x="291899" y="412558"/>
                        <a:pt x="264136" y="487820"/>
                        <a:pt x="198923" y="489270"/>
                      </a:cubicBezTo>
                      <a:cubicBezTo>
                        <a:pt x="153807" y="490254"/>
                        <a:pt x="110349" y="492119"/>
                        <a:pt x="65388" y="488752"/>
                      </a:cubicBezTo>
                      <a:cubicBezTo>
                        <a:pt x="20791" y="485385"/>
                        <a:pt x="-5885" y="439027"/>
                        <a:pt x="1108" y="396086"/>
                      </a:cubicBezTo>
                      <a:lnTo>
                        <a:pt x="51248" y="86337"/>
                      </a:lnTo>
                      <a:cubicBezTo>
                        <a:pt x="67305" y="-12856"/>
                        <a:pt x="174940" y="-1874"/>
                        <a:pt x="261960" y="2995"/>
                      </a:cubicBezTo>
                      <a:cubicBezTo>
                        <a:pt x="303657" y="5325"/>
                        <a:pt x="334736" y="36093"/>
                        <a:pt x="332975" y="79655"/>
                      </a:cubicBezTo>
                      <a:cubicBezTo>
                        <a:pt x="330488" y="141708"/>
                        <a:pt x="320077" y="202519"/>
                        <a:pt x="306765" y="263588"/>
                      </a:cubicBezTo>
                      <a:lnTo>
                        <a:pt x="80979" y="265764"/>
                      </a:lnTo>
                      <a:cubicBezTo>
                        <a:pt x="78338" y="319219"/>
                        <a:pt x="29337" y="431516"/>
                        <a:pt x="92996" y="438301"/>
                      </a:cubicBezTo>
                      <a:cubicBezTo>
                        <a:pt x="117289" y="440891"/>
                        <a:pt x="142152" y="438871"/>
                        <a:pt x="170278" y="439389"/>
                      </a:cubicBezTo>
                      <a:close/>
                      <a:moveTo>
                        <a:pt x="259526" y="216349"/>
                      </a:moveTo>
                      <a:lnTo>
                        <a:pt x="278018" y="96282"/>
                      </a:lnTo>
                      <a:cubicBezTo>
                        <a:pt x="279416" y="73905"/>
                        <a:pt x="266208" y="55362"/>
                        <a:pt x="242588" y="53704"/>
                      </a:cubicBezTo>
                      <a:cubicBezTo>
                        <a:pt x="187164" y="49820"/>
                        <a:pt x="120708" y="42464"/>
                        <a:pt x="107707" y="96593"/>
                      </a:cubicBezTo>
                      <a:cubicBezTo>
                        <a:pt x="98124" y="136477"/>
                        <a:pt x="92427" y="175791"/>
                        <a:pt x="89578" y="216970"/>
                      </a:cubicBezTo>
                      <a:lnTo>
                        <a:pt x="259526" y="216400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F0F3B32-01A1-E879-773A-8D593F052B72}"/>
                    </a:ext>
                  </a:extLst>
                </p:cNvPr>
                <p:cNvSpPr/>
                <p:nvPr/>
              </p:nvSpPr>
              <p:spPr>
                <a:xfrm>
                  <a:off x="-1310753" y="10315391"/>
                  <a:ext cx="332772" cy="490991"/>
                </a:xfrm>
                <a:custGeom>
                  <a:avLst/>
                  <a:gdLst>
                    <a:gd name="csX0" fmla="*/ 92582 w 332772"/>
                    <a:gd name="csY0" fmla="*/ 438085 h 490991"/>
                    <a:gd name="csX1" fmla="*/ 232953 w 332772"/>
                    <a:gd name="csY1" fmla="*/ 387997 h 490991"/>
                    <a:gd name="csX2" fmla="*/ 242588 w 332772"/>
                    <a:gd name="csY2" fmla="*/ 346662 h 490991"/>
                    <a:gd name="csX3" fmla="*/ 288791 w 332772"/>
                    <a:gd name="csY3" fmla="*/ 348942 h 490991"/>
                    <a:gd name="csX4" fmla="*/ 198456 w 332772"/>
                    <a:gd name="csY4" fmla="*/ 489313 h 490991"/>
                    <a:gd name="csX5" fmla="*/ 59638 w 332772"/>
                    <a:gd name="csY5" fmla="*/ 487655 h 490991"/>
                    <a:gd name="csX6" fmla="*/ 1056 w 332772"/>
                    <a:gd name="csY6" fmla="*/ 395870 h 490991"/>
                    <a:gd name="csX7" fmla="*/ 51610 w 332772"/>
                    <a:gd name="csY7" fmla="*/ 86224 h 490991"/>
                    <a:gd name="csX8" fmla="*/ 261287 w 332772"/>
                    <a:gd name="csY8" fmla="*/ 2934 h 490991"/>
                    <a:gd name="csX9" fmla="*/ 307956 w 332772"/>
                    <a:gd name="csY9" fmla="*/ 262232 h 490991"/>
                    <a:gd name="csX10" fmla="*/ 80876 w 332772"/>
                    <a:gd name="csY10" fmla="*/ 265910 h 490991"/>
                    <a:gd name="csX11" fmla="*/ 60001 w 332772"/>
                    <a:gd name="csY11" fmla="*/ 396440 h 490991"/>
                    <a:gd name="csX12" fmla="*/ 92478 w 332772"/>
                    <a:gd name="csY12" fmla="*/ 438137 h 490991"/>
                    <a:gd name="csX13" fmla="*/ 260199 w 332772"/>
                    <a:gd name="csY13" fmla="*/ 216132 h 490991"/>
                    <a:gd name="csX14" fmla="*/ 278380 w 332772"/>
                    <a:gd name="csY14" fmla="*/ 97412 h 490991"/>
                    <a:gd name="csX15" fmla="*/ 242122 w 332772"/>
                    <a:gd name="csY15" fmla="*/ 53747 h 490991"/>
                    <a:gd name="csX16" fmla="*/ 109364 w 332772"/>
                    <a:gd name="csY16" fmla="*/ 92181 h 490991"/>
                    <a:gd name="csX17" fmla="*/ 89267 w 332772"/>
                    <a:gd name="csY17" fmla="*/ 216910 h 490991"/>
                    <a:gd name="csX18" fmla="*/ 260251 w 332772"/>
                    <a:gd name="csY18" fmla="*/ 216132 h 4909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</a:cxnLst>
                  <a:rect l="l" t="t" r="r" b="b"/>
                  <a:pathLst>
                    <a:path w="332772" h="490991">
                      <a:moveTo>
                        <a:pt x="92582" y="438085"/>
                      </a:moveTo>
                      <a:cubicBezTo>
                        <a:pt x="156241" y="446010"/>
                        <a:pt x="218813" y="447927"/>
                        <a:pt x="232953" y="387997"/>
                      </a:cubicBezTo>
                      <a:cubicBezTo>
                        <a:pt x="236113" y="374530"/>
                        <a:pt x="234404" y="357643"/>
                        <a:pt x="242588" y="346662"/>
                      </a:cubicBezTo>
                      <a:cubicBezTo>
                        <a:pt x="249736" y="337132"/>
                        <a:pt x="284647" y="337753"/>
                        <a:pt x="288791" y="348942"/>
                      </a:cubicBezTo>
                      <a:cubicBezTo>
                        <a:pt x="298840" y="400169"/>
                        <a:pt x="266363" y="489520"/>
                        <a:pt x="198456" y="489313"/>
                      </a:cubicBezTo>
                      <a:cubicBezTo>
                        <a:pt x="151372" y="489158"/>
                        <a:pt x="105686" y="494130"/>
                        <a:pt x="59638" y="487655"/>
                      </a:cubicBezTo>
                      <a:cubicBezTo>
                        <a:pt x="18356" y="481854"/>
                        <a:pt x="-5419" y="435495"/>
                        <a:pt x="1056" y="395870"/>
                      </a:cubicBezTo>
                      <a:lnTo>
                        <a:pt x="51610" y="86224"/>
                      </a:lnTo>
                      <a:cubicBezTo>
                        <a:pt x="67771" y="-12657"/>
                        <a:pt x="174577" y="-1883"/>
                        <a:pt x="261287" y="2934"/>
                      </a:cubicBezTo>
                      <a:cubicBezTo>
                        <a:pt x="380162" y="9564"/>
                        <a:pt x="316969" y="180392"/>
                        <a:pt x="307956" y="262232"/>
                      </a:cubicBezTo>
                      <a:lnTo>
                        <a:pt x="80876" y="265910"/>
                      </a:lnTo>
                      <a:cubicBezTo>
                        <a:pt x="71914" y="309938"/>
                        <a:pt x="65854" y="352257"/>
                        <a:pt x="60001" y="396440"/>
                      </a:cubicBezTo>
                      <a:cubicBezTo>
                        <a:pt x="57100" y="418350"/>
                        <a:pt x="71086" y="435444"/>
                        <a:pt x="92478" y="438137"/>
                      </a:cubicBezTo>
                      <a:close/>
                      <a:moveTo>
                        <a:pt x="260199" y="216132"/>
                      </a:moveTo>
                      <a:lnTo>
                        <a:pt x="278380" y="97412"/>
                      </a:lnTo>
                      <a:cubicBezTo>
                        <a:pt x="280814" y="74414"/>
                        <a:pt x="266311" y="55456"/>
                        <a:pt x="242122" y="53747"/>
                      </a:cubicBezTo>
                      <a:cubicBezTo>
                        <a:pt x="196540" y="50484"/>
                        <a:pt x="122676" y="42869"/>
                        <a:pt x="109364" y="92181"/>
                      </a:cubicBezTo>
                      <a:cubicBezTo>
                        <a:pt x="98228" y="133256"/>
                        <a:pt x="93204" y="174125"/>
                        <a:pt x="89267" y="216910"/>
                      </a:cubicBezTo>
                      <a:lnTo>
                        <a:pt x="260251" y="2161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C4CAFB05-FBD3-3C2F-E59C-B0CC8A80C6E1}"/>
                    </a:ext>
                  </a:extLst>
                </p:cNvPr>
                <p:cNvSpPr/>
                <p:nvPr/>
              </p:nvSpPr>
              <p:spPr>
                <a:xfrm>
                  <a:off x="-2037973" y="10315983"/>
                  <a:ext cx="344993" cy="490398"/>
                </a:xfrm>
                <a:custGeom>
                  <a:avLst/>
                  <a:gdLst>
                    <a:gd name="csX0" fmla="*/ 283955 w 344993"/>
                    <a:gd name="csY0" fmla="*/ 95215 h 490398"/>
                    <a:gd name="csX1" fmla="*/ 253187 w 344993"/>
                    <a:gd name="csY1" fmla="*/ 52948 h 490398"/>
                    <a:gd name="csX2" fmla="*/ 115043 w 344993"/>
                    <a:gd name="csY2" fmla="*/ 112671 h 490398"/>
                    <a:gd name="csX3" fmla="*/ 57444 w 344993"/>
                    <a:gd name="csY3" fmla="*/ 470902 h 490398"/>
                    <a:gd name="csX4" fmla="*/ 34342 w 344993"/>
                    <a:gd name="csY4" fmla="*/ 489446 h 490398"/>
                    <a:gd name="csX5" fmla="*/ 104 w 344993"/>
                    <a:gd name="csY5" fmla="*/ 477533 h 490398"/>
                    <a:gd name="csX6" fmla="*/ 74019 w 344993"/>
                    <a:gd name="csY6" fmla="*/ 13323 h 490398"/>
                    <a:gd name="csX7" fmla="*/ 121466 w 344993"/>
                    <a:gd name="csY7" fmla="*/ 12183 h 490398"/>
                    <a:gd name="csX8" fmla="*/ 124729 w 344993"/>
                    <a:gd name="csY8" fmla="*/ 38186 h 490398"/>
                    <a:gd name="csX9" fmla="*/ 284732 w 344993"/>
                    <a:gd name="csY9" fmla="*/ 3170 h 490398"/>
                    <a:gd name="csX10" fmla="*/ 344092 w 344993"/>
                    <a:gd name="csY10" fmla="*/ 79883 h 490398"/>
                    <a:gd name="csX11" fmla="*/ 282246 w 344993"/>
                    <a:gd name="csY11" fmla="*/ 476549 h 490398"/>
                    <a:gd name="csX12" fmla="*/ 228842 w 344993"/>
                    <a:gd name="csY12" fmla="*/ 478413 h 490398"/>
                    <a:gd name="csX13" fmla="*/ 283955 w 344993"/>
                    <a:gd name="csY13" fmla="*/ 95215 h 4903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344993" h="490398">
                      <a:moveTo>
                        <a:pt x="283955" y="95215"/>
                      </a:moveTo>
                      <a:cubicBezTo>
                        <a:pt x="287529" y="70196"/>
                        <a:pt x="274890" y="54346"/>
                        <a:pt x="253187" y="52948"/>
                      </a:cubicBezTo>
                      <a:cubicBezTo>
                        <a:pt x="199939" y="49477"/>
                        <a:pt x="126128" y="43469"/>
                        <a:pt x="115043" y="112671"/>
                      </a:cubicBezTo>
                      <a:lnTo>
                        <a:pt x="57444" y="470902"/>
                      </a:lnTo>
                      <a:cubicBezTo>
                        <a:pt x="55269" y="484525"/>
                        <a:pt x="41490" y="487892"/>
                        <a:pt x="34342" y="489446"/>
                      </a:cubicBezTo>
                      <a:cubicBezTo>
                        <a:pt x="26003" y="491259"/>
                        <a:pt x="-1916" y="490016"/>
                        <a:pt x="104" y="477533"/>
                      </a:cubicBezTo>
                      <a:lnTo>
                        <a:pt x="74019" y="13323"/>
                      </a:lnTo>
                      <a:cubicBezTo>
                        <a:pt x="76195" y="-404"/>
                        <a:pt x="117322" y="684"/>
                        <a:pt x="121466" y="12183"/>
                      </a:cubicBezTo>
                      <a:cubicBezTo>
                        <a:pt x="125092" y="22336"/>
                        <a:pt x="122916" y="30830"/>
                        <a:pt x="124729" y="38186"/>
                      </a:cubicBezTo>
                      <a:cubicBezTo>
                        <a:pt x="152856" y="-6930"/>
                        <a:pt x="235472" y="-1802"/>
                        <a:pt x="284732" y="3170"/>
                      </a:cubicBezTo>
                      <a:cubicBezTo>
                        <a:pt x="322285" y="6951"/>
                        <a:pt x="350463" y="39273"/>
                        <a:pt x="344092" y="79883"/>
                      </a:cubicBezTo>
                      <a:lnTo>
                        <a:pt x="282246" y="476549"/>
                      </a:lnTo>
                      <a:cubicBezTo>
                        <a:pt x="279241" y="495766"/>
                        <a:pt x="226615" y="493642"/>
                        <a:pt x="228842" y="478413"/>
                      </a:cubicBezTo>
                      <a:lnTo>
                        <a:pt x="283955" y="95215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A2150B62-A09A-43AE-CB0F-50B5A87F1EF5}"/>
                    </a:ext>
                  </a:extLst>
                </p:cNvPr>
                <p:cNvSpPr/>
                <p:nvPr/>
              </p:nvSpPr>
              <p:spPr>
                <a:xfrm>
                  <a:off x="-2778288" y="10315923"/>
                  <a:ext cx="343480" cy="490841"/>
                </a:xfrm>
                <a:custGeom>
                  <a:avLst/>
                  <a:gdLst>
                    <a:gd name="csX0" fmla="*/ 282374 w 343480"/>
                    <a:gd name="csY0" fmla="*/ 101232 h 490841"/>
                    <a:gd name="csX1" fmla="*/ 251554 w 343480"/>
                    <a:gd name="csY1" fmla="*/ 52956 h 490841"/>
                    <a:gd name="csX2" fmla="*/ 112944 w 343480"/>
                    <a:gd name="csY2" fmla="*/ 117289 h 490841"/>
                    <a:gd name="csX3" fmla="*/ 54309 w 343480"/>
                    <a:gd name="csY3" fmla="*/ 477023 h 490841"/>
                    <a:gd name="csX4" fmla="*/ 77 w 343480"/>
                    <a:gd name="csY4" fmla="*/ 478732 h 490841"/>
                    <a:gd name="csX5" fmla="*/ 71195 w 343480"/>
                    <a:gd name="csY5" fmla="*/ 17009 h 490841"/>
                    <a:gd name="csX6" fmla="*/ 119522 w 343480"/>
                    <a:gd name="csY6" fmla="*/ 12191 h 490841"/>
                    <a:gd name="csX7" fmla="*/ 123252 w 343480"/>
                    <a:gd name="csY7" fmla="*/ 39178 h 490841"/>
                    <a:gd name="csX8" fmla="*/ 295168 w 343480"/>
                    <a:gd name="csY8" fmla="*/ 5769 h 490841"/>
                    <a:gd name="csX9" fmla="*/ 342097 w 343480"/>
                    <a:gd name="csY9" fmla="*/ 92581 h 490841"/>
                    <a:gd name="csX10" fmla="*/ 279836 w 343480"/>
                    <a:gd name="csY10" fmla="*/ 476712 h 490841"/>
                    <a:gd name="csX11" fmla="*/ 224464 w 343480"/>
                    <a:gd name="csY11" fmla="*/ 478318 h 490841"/>
                    <a:gd name="csX12" fmla="*/ 282374 w 343480"/>
                    <a:gd name="csY12" fmla="*/ 101232 h 49084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</a:cxnLst>
                  <a:rect l="l" t="t" r="r" b="b"/>
                  <a:pathLst>
                    <a:path w="343480" h="490841">
                      <a:moveTo>
                        <a:pt x="282374" y="101232"/>
                      </a:moveTo>
                      <a:cubicBezTo>
                        <a:pt x="286518" y="74349"/>
                        <a:pt x="276469" y="54717"/>
                        <a:pt x="251554" y="52956"/>
                      </a:cubicBezTo>
                      <a:cubicBezTo>
                        <a:pt x="191210" y="48605"/>
                        <a:pt x="124806" y="44824"/>
                        <a:pt x="112944" y="117289"/>
                      </a:cubicBezTo>
                      <a:lnTo>
                        <a:pt x="54309" y="477023"/>
                      </a:lnTo>
                      <a:cubicBezTo>
                        <a:pt x="51357" y="495204"/>
                        <a:pt x="-2306" y="494168"/>
                        <a:pt x="77" y="478732"/>
                      </a:cubicBezTo>
                      <a:lnTo>
                        <a:pt x="71195" y="17009"/>
                      </a:lnTo>
                      <a:cubicBezTo>
                        <a:pt x="73992" y="-1172"/>
                        <a:pt x="117813" y="-33"/>
                        <a:pt x="119522" y="12191"/>
                      </a:cubicBezTo>
                      <a:lnTo>
                        <a:pt x="123252" y="39178"/>
                      </a:lnTo>
                      <a:cubicBezTo>
                        <a:pt x="147545" y="-9304"/>
                        <a:pt x="256579" y="-2312"/>
                        <a:pt x="295168" y="5769"/>
                      </a:cubicBezTo>
                      <a:cubicBezTo>
                        <a:pt x="333757" y="13849"/>
                        <a:pt x="348312" y="54303"/>
                        <a:pt x="342097" y="92581"/>
                      </a:cubicBezTo>
                      <a:lnTo>
                        <a:pt x="279836" y="476712"/>
                      </a:lnTo>
                      <a:cubicBezTo>
                        <a:pt x="276624" y="496499"/>
                        <a:pt x="234979" y="494065"/>
                        <a:pt x="224464" y="478318"/>
                      </a:cubicBezTo>
                      <a:lnTo>
                        <a:pt x="282374" y="101232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5A271EC1-5A50-CFD0-E1EB-2CAA4A22D7D4}"/>
                    </a:ext>
                  </a:extLst>
                </p:cNvPr>
                <p:cNvSpPr/>
                <p:nvPr/>
              </p:nvSpPr>
              <p:spPr>
                <a:xfrm>
                  <a:off x="-1657572" y="10316151"/>
                  <a:ext cx="324511" cy="490038"/>
                </a:xfrm>
                <a:custGeom>
                  <a:avLst/>
                  <a:gdLst>
                    <a:gd name="csX0" fmla="*/ 60294 w 324511"/>
                    <a:gd name="csY0" fmla="*/ 384130 h 490038"/>
                    <a:gd name="csX1" fmla="*/ 90854 w 324511"/>
                    <a:gd name="csY1" fmla="*/ 436860 h 490038"/>
                    <a:gd name="csX2" fmla="*/ 180464 w 324511"/>
                    <a:gd name="csY2" fmla="*/ 436031 h 490038"/>
                    <a:gd name="csX3" fmla="*/ 240083 w 324511"/>
                    <a:gd name="csY3" fmla="*/ 330157 h 490038"/>
                    <a:gd name="csX4" fmla="*/ 283800 w 324511"/>
                    <a:gd name="csY4" fmla="*/ 326738 h 490038"/>
                    <a:gd name="csX5" fmla="*/ 196107 w 324511"/>
                    <a:gd name="csY5" fmla="*/ 487777 h 490038"/>
                    <a:gd name="csX6" fmla="*/ 62936 w 324511"/>
                    <a:gd name="csY6" fmla="*/ 487673 h 490038"/>
                    <a:gd name="csX7" fmla="*/ 882 w 324511"/>
                    <a:gd name="csY7" fmla="*/ 401430 h 490038"/>
                    <a:gd name="csX8" fmla="*/ 50867 w 324511"/>
                    <a:gd name="csY8" fmla="*/ 86449 h 490038"/>
                    <a:gd name="csX9" fmla="*/ 145035 w 324511"/>
                    <a:gd name="csY9" fmla="*/ 2433 h 490038"/>
                    <a:gd name="csX10" fmla="*/ 322907 w 324511"/>
                    <a:gd name="csY10" fmla="*/ 65834 h 490038"/>
                    <a:gd name="csX11" fmla="*/ 315086 w 324511"/>
                    <a:gd name="csY11" fmla="*/ 149021 h 490038"/>
                    <a:gd name="csX12" fmla="*/ 266137 w 324511"/>
                    <a:gd name="csY12" fmla="*/ 161452 h 490038"/>
                    <a:gd name="csX13" fmla="*/ 233868 w 324511"/>
                    <a:gd name="csY13" fmla="*/ 53091 h 490038"/>
                    <a:gd name="csX14" fmla="*/ 106704 w 324511"/>
                    <a:gd name="csY14" fmla="*/ 97016 h 490038"/>
                    <a:gd name="csX15" fmla="*/ 60242 w 324511"/>
                    <a:gd name="csY15" fmla="*/ 384234 h 49003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324511" h="490038">
                      <a:moveTo>
                        <a:pt x="60294" y="384130"/>
                      </a:moveTo>
                      <a:cubicBezTo>
                        <a:pt x="56305" y="408889"/>
                        <a:pt x="65991" y="434218"/>
                        <a:pt x="90854" y="436860"/>
                      </a:cubicBezTo>
                      <a:cubicBezTo>
                        <a:pt x="119913" y="439916"/>
                        <a:pt x="151147" y="440745"/>
                        <a:pt x="180464" y="436031"/>
                      </a:cubicBezTo>
                      <a:cubicBezTo>
                        <a:pt x="237752" y="426863"/>
                        <a:pt x="219416" y="343676"/>
                        <a:pt x="240083" y="330157"/>
                      </a:cubicBezTo>
                      <a:cubicBezTo>
                        <a:pt x="249355" y="324096"/>
                        <a:pt x="276289" y="316430"/>
                        <a:pt x="283800" y="326738"/>
                      </a:cubicBezTo>
                      <a:cubicBezTo>
                        <a:pt x="288359" y="383871"/>
                        <a:pt x="267640" y="483322"/>
                        <a:pt x="196107" y="487777"/>
                      </a:cubicBezTo>
                      <a:cubicBezTo>
                        <a:pt x="150991" y="490574"/>
                        <a:pt x="108310" y="491040"/>
                        <a:pt x="62936" y="487673"/>
                      </a:cubicBezTo>
                      <a:cubicBezTo>
                        <a:pt x="23414" y="484721"/>
                        <a:pt x="-5489" y="441677"/>
                        <a:pt x="882" y="401430"/>
                      </a:cubicBezTo>
                      <a:lnTo>
                        <a:pt x="50867" y="86449"/>
                      </a:lnTo>
                      <a:cubicBezTo>
                        <a:pt x="58791" y="36465"/>
                        <a:pt x="95361" y="3728"/>
                        <a:pt x="145035" y="2433"/>
                      </a:cubicBezTo>
                      <a:cubicBezTo>
                        <a:pt x="210870" y="724"/>
                        <a:pt x="316381" y="-15489"/>
                        <a:pt x="322907" y="65834"/>
                      </a:cubicBezTo>
                      <a:cubicBezTo>
                        <a:pt x="325135" y="93286"/>
                        <a:pt x="326844" y="122448"/>
                        <a:pt x="315086" y="149021"/>
                      </a:cubicBezTo>
                      <a:cubicBezTo>
                        <a:pt x="309492" y="161607"/>
                        <a:pt x="275979" y="169481"/>
                        <a:pt x="266137" y="161452"/>
                      </a:cubicBezTo>
                      <a:cubicBezTo>
                        <a:pt x="249303" y="144203"/>
                        <a:pt x="299806" y="58220"/>
                        <a:pt x="233868" y="53091"/>
                      </a:cubicBezTo>
                      <a:cubicBezTo>
                        <a:pt x="190202" y="49725"/>
                        <a:pt x="115562" y="42421"/>
                        <a:pt x="106704" y="97016"/>
                      </a:cubicBezTo>
                      <a:lnTo>
                        <a:pt x="60242" y="38423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F4F4D8DD-9917-76A1-F55E-5617DE0F7933}"/>
                    </a:ext>
                  </a:extLst>
                </p:cNvPr>
                <p:cNvSpPr/>
                <p:nvPr/>
              </p:nvSpPr>
              <p:spPr>
                <a:xfrm>
                  <a:off x="-3587489" y="10214696"/>
                  <a:ext cx="218918" cy="591881"/>
                </a:xfrm>
                <a:custGeom>
                  <a:avLst/>
                  <a:gdLst>
                    <a:gd name="csX0" fmla="*/ 144145 w 218918"/>
                    <a:gd name="csY0" fmla="*/ 539195 h 591881"/>
                    <a:gd name="csX1" fmla="*/ 135650 w 218918"/>
                    <a:gd name="csY1" fmla="*/ 585398 h 591881"/>
                    <a:gd name="csX2" fmla="*/ 52981 w 218918"/>
                    <a:gd name="csY2" fmla="*/ 583533 h 591881"/>
                    <a:gd name="csX3" fmla="*/ 718 w 218918"/>
                    <a:gd name="csY3" fmla="*/ 509204 h 591881"/>
                    <a:gd name="csX4" fmla="*/ 53189 w 218918"/>
                    <a:gd name="csY4" fmla="*/ 162834 h 591881"/>
                    <a:gd name="csX5" fmla="*/ 17863 w 218918"/>
                    <a:gd name="csY5" fmla="*/ 156514 h 591881"/>
                    <a:gd name="csX6" fmla="*/ 16671 w 218918"/>
                    <a:gd name="csY6" fmla="*/ 121240 h 591881"/>
                    <a:gd name="csX7" fmla="*/ 60026 w 218918"/>
                    <a:gd name="csY7" fmla="*/ 105753 h 591881"/>
                    <a:gd name="csX8" fmla="*/ 79709 w 218918"/>
                    <a:gd name="csY8" fmla="*/ 15625 h 591881"/>
                    <a:gd name="csX9" fmla="*/ 134821 w 218918"/>
                    <a:gd name="csY9" fmla="*/ 1381 h 591881"/>
                    <a:gd name="csX10" fmla="*/ 123944 w 218918"/>
                    <a:gd name="csY10" fmla="*/ 103940 h 591881"/>
                    <a:gd name="csX11" fmla="*/ 218112 w 218918"/>
                    <a:gd name="csY11" fmla="*/ 110673 h 591881"/>
                    <a:gd name="csX12" fmla="*/ 201951 w 218918"/>
                    <a:gd name="csY12" fmla="*/ 156048 h 591881"/>
                    <a:gd name="csX13" fmla="*/ 113377 w 218918"/>
                    <a:gd name="csY13" fmla="*/ 160296 h 591881"/>
                    <a:gd name="csX14" fmla="*/ 60906 w 218918"/>
                    <a:gd name="csY14" fmla="*/ 485584 h 591881"/>
                    <a:gd name="csX15" fmla="*/ 80020 w 218918"/>
                    <a:gd name="csY15" fmla="*/ 531684 h 591881"/>
                    <a:gd name="csX16" fmla="*/ 144093 w 218918"/>
                    <a:gd name="csY16" fmla="*/ 539143 h 59188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218918" h="591881">
                      <a:moveTo>
                        <a:pt x="144145" y="539195"/>
                      </a:moveTo>
                      <a:cubicBezTo>
                        <a:pt x="154660" y="545203"/>
                        <a:pt x="147667" y="579856"/>
                        <a:pt x="135650" y="585398"/>
                      </a:cubicBezTo>
                      <a:cubicBezTo>
                        <a:pt x="109751" y="597364"/>
                        <a:pt x="80745" y="590371"/>
                        <a:pt x="52981" y="583533"/>
                      </a:cubicBezTo>
                      <a:cubicBezTo>
                        <a:pt x="21540" y="575764"/>
                        <a:pt x="-4721" y="545100"/>
                        <a:pt x="718" y="509204"/>
                      </a:cubicBezTo>
                      <a:lnTo>
                        <a:pt x="53189" y="162834"/>
                      </a:lnTo>
                      <a:cubicBezTo>
                        <a:pt x="40809" y="155996"/>
                        <a:pt x="27238" y="162575"/>
                        <a:pt x="17863" y="156514"/>
                      </a:cubicBezTo>
                      <a:cubicBezTo>
                        <a:pt x="4965" y="148175"/>
                        <a:pt x="12942" y="130201"/>
                        <a:pt x="16671" y="121240"/>
                      </a:cubicBezTo>
                      <a:cubicBezTo>
                        <a:pt x="23094" y="105804"/>
                        <a:pt x="41430" y="104354"/>
                        <a:pt x="60026" y="105753"/>
                      </a:cubicBezTo>
                      <a:lnTo>
                        <a:pt x="79709" y="15625"/>
                      </a:lnTo>
                      <a:cubicBezTo>
                        <a:pt x="83386" y="-1158"/>
                        <a:pt x="119438" y="-1520"/>
                        <a:pt x="134821" y="1381"/>
                      </a:cubicBezTo>
                      <a:lnTo>
                        <a:pt x="123944" y="103940"/>
                      </a:lnTo>
                      <a:cubicBezTo>
                        <a:pt x="156214" y="109741"/>
                        <a:pt x="186049" y="99640"/>
                        <a:pt x="218112" y="110673"/>
                      </a:cubicBezTo>
                      <a:cubicBezTo>
                        <a:pt x="221116" y="123156"/>
                        <a:pt x="215729" y="151283"/>
                        <a:pt x="201951" y="156048"/>
                      </a:cubicBezTo>
                      <a:cubicBezTo>
                        <a:pt x="174240" y="165682"/>
                        <a:pt x="145647" y="155530"/>
                        <a:pt x="113377" y="160296"/>
                      </a:cubicBezTo>
                      <a:lnTo>
                        <a:pt x="60906" y="485584"/>
                      </a:lnTo>
                      <a:cubicBezTo>
                        <a:pt x="57902" y="504076"/>
                        <a:pt x="61942" y="525054"/>
                        <a:pt x="80020" y="531684"/>
                      </a:cubicBezTo>
                      <a:cubicBezTo>
                        <a:pt x="99133" y="538677"/>
                        <a:pt x="121613" y="526349"/>
                        <a:pt x="144093" y="539143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C57EC012-BF1F-F407-8C52-915A795CDE87}"/>
                    </a:ext>
                  </a:extLst>
                </p:cNvPr>
                <p:cNvSpPr/>
                <p:nvPr/>
              </p:nvSpPr>
              <p:spPr>
                <a:xfrm>
                  <a:off x="-3761329" y="10182974"/>
                  <a:ext cx="152854" cy="623886"/>
                </a:xfrm>
                <a:custGeom>
                  <a:avLst/>
                  <a:gdLst>
                    <a:gd name="csX0" fmla="*/ 57599 w 152854"/>
                    <a:gd name="csY0" fmla="*/ 606605 h 623886"/>
                    <a:gd name="csX1" fmla="*/ 0 w 152854"/>
                    <a:gd name="csY1" fmla="*/ 610128 h 623886"/>
                    <a:gd name="csX2" fmla="*/ 96292 w 152854"/>
                    <a:gd name="csY2" fmla="*/ 10881 h 623886"/>
                    <a:gd name="csX3" fmla="*/ 152855 w 152854"/>
                    <a:gd name="csY3" fmla="*/ 8913 h 623886"/>
                    <a:gd name="csX4" fmla="*/ 57599 w 152854"/>
                    <a:gd name="csY4" fmla="*/ 606554 h 62388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152854" h="623886">
                      <a:moveTo>
                        <a:pt x="57599" y="606605"/>
                      </a:moveTo>
                      <a:cubicBezTo>
                        <a:pt x="53714" y="630847"/>
                        <a:pt x="10929" y="627273"/>
                        <a:pt x="0" y="610128"/>
                      </a:cubicBezTo>
                      <a:lnTo>
                        <a:pt x="96292" y="10881"/>
                      </a:lnTo>
                      <a:cubicBezTo>
                        <a:pt x="98881" y="-5124"/>
                        <a:pt x="142495" y="-1447"/>
                        <a:pt x="152855" y="8913"/>
                      </a:cubicBezTo>
                      <a:lnTo>
                        <a:pt x="57599" y="606554"/>
                      </a:ln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A93694C9-9987-CF17-7FBC-04DA9BA7B1FF}"/>
                    </a:ext>
                  </a:extLst>
                </p:cNvPr>
                <p:cNvSpPr/>
                <p:nvPr/>
              </p:nvSpPr>
              <p:spPr>
                <a:xfrm rot="-4864199">
                  <a:off x="-4695317" y="10464788"/>
                  <a:ext cx="631775" cy="59619"/>
                </a:xfrm>
                <a:prstGeom prst="rect">
                  <a:avLst/>
                </a:pr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8E38064A-9720-A727-E601-DEAEE5989CDA}"/>
                    </a:ext>
                  </a:extLst>
                </p:cNvPr>
                <p:cNvSpPr/>
                <p:nvPr/>
              </p:nvSpPr>
              <p:spPr>
                <a:xfrm>
                  <a:off x="-3007797" y="10317555"/>
                  <a:ext cx="251823" cy="488729"/>
                </a:xfrm>
                <a:custGeom>
                  <a:avLst/>
                  <a:gdLst>
                    <a:gd name="csX0" fmla="*/ 236061 w 251823"/>
                    <a:gd name="csY0" fmla="*/ 50910 h 488729"/>
                    <a:gd name="csX1" fmla="*/ 109726 w 251823"/>
                    <a:gd name="csY1" fmla="*/ 144146 h 488729"/>
                    <a:gd name="csX2" fmla="*/ 54407 w 251823"/>
                    <a:gd name="csY2" fmla="*/ 474874 h 488729"/>
                    <a:gd name="csX3" fmla="*/ 71 w 251823"/>
                    <a:gd name="csY3" fmla="*/ 477101 h 488729"/>
                    <a:gd name="csX4" fmla="*/ 71189 w 251823"/>
                    <a:gd name="csY4" fmla="*/ 15429 h 488729"/>
                    <a:gd name="csX5" fmla="*/ 121070 w 251823"/>
                    <a:gd name="csY5" fmla="*/ 10923 h 488729"/>
                    <a:gd name="csX6" fmla="*/ 122313 w 251823"/>
                    <a:gd name="csY6" fmla="*/ 52723 h 488729"/>
                    <a:gd name="csX7" fmla="*/ 249580 w 251823"/>
                    <a:gd name="csY7" fmla="*/ 2790 h 488729"/>
                    <a:gd name="csX8" fmla="*/ 236061 w 251823"/>
                    <a:gd name="csY8" fmla="*/ 50910 h 48872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251823" h="488729">
                      <a:moveTo>
                        <a:pt x="236061" y="50910"/>
                      </a:moveTo>
                      <a:cubicBezTo>
                        <a:pt x="171676" y="44021"/>
                        <a:pt x="120138" y="82041"/>
                        <a:pt x="109726" y="144146"/>
                      </a:cubicBezTo>
                      <a:lnTo>
                        <a:pt x="54407" y="474874"/>
                      </a:lnTo>
                      <a:cubicBezTo>
                        <a:pt x="51195" y="494039"/>
                        <a:pt x="-2208" y="491915"/>
                        <a:pt x="71" y="477101"/>
                      </a:cubicBezTo>
                      <a:lnTo>
                        <a:pt x="71189" y="15429"/>
                      </a:lnTo>
                      <a:cubicBezTo>
                        <a:pt x="74193" y="-4202"/>
                        <a:pt x="114026" y="45"/>
                        <a:pt x="121070" y="10923"/>
                      </a:cubicBezTo>
                      <a:lnTo>
                        <a:pt x="122313" y="52723"/>
                      </a:lnTo>
                      <a:cubicBezTo>
                        <a:pt x="146451" y="7504"/>
                        <a:pt x="202962" y="-6688"/>
                        <a:pt x="249580" y="2790"/>
                      </a:cubicBezTo>
                      <a:cubicBezTo>
                        <a:pt x="255640" y="17812"/>
                        <a:pt x="248855" y="38479"/>
                        <a:pt x="236061" y="50910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54D1075D-2D60-5528-B18A-E7CEC86BB6C3}"/>
                    </a:ext>
                  </a:extLst>
                </p:cNvPr>
                <p:cNvSpPr/>
                <p:nvPr/>
              </p:nvSpPr>
              <p:spPr>
                <a:xfrm>
                  <a:off x="-4230149" y="10192173"/>
                  <a:ext cx="98758" cy="182367"/>
                </a:xfrm>
                <a:custGeom>
                  <a:avLst/>
                  <a:gdLst>
                    <a:gd name="csX0" fmla="*/ 95463 w 98758"/>
                    <a:gd name="csY0" fmla="*/ 3081 h 182367"/>
                    <a:gd name="csX1" fmla="*/ 34756 w 98758"/>
                    <a:gd name="csY1" fmla="*/ 179037 h 182367"/>
                    <a:gd name="csX2" fmla="*/ 0 w 98758"/>
                    <a:gd name="csY2" fmla="*/ 175567 h 182367"/>
                    <a:gd name="csX3" fmla="*/ 34446 w 98758"/>
                    <a:gd name="csY3" fmla="*/ 82590 h 182367"/>
                    <a:gd name="csX4" fmla="*/ 28955 w 98758"/>
                    <a:gd name="csY4" fmla="*/ 6810 h 182367"/>
                    <a:gd name="csX5" fmla="*/ 95411 w 98758"/>
                    <a:gd name="csY5" fmla="*/ 3081 h 182367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98758" h="182367">
                      <a:moveTo>
                        <a:pt x="95463" y="3081"/>
                      </a:moveTo>
                      <a:cubicBezTo>
                        <a:pt x="114524" y="36904"/>
                        <a:pt x="45116" y="174168"/>
                        <a:pt x="34756" y="179037"/>
                      </a:cubicBezTo>
                      <a:cubicBezTo>
                        <a:pt x="25536" y="183388"/>
                        <a:pt x="4144" y="184631"/>
                        <a:pt x="0" y="175567"/>
                      </a:cubicBezTo>
                      <a:cubicBezTo>
                        <a:pt x="4662" y="142313"/>
                        <a:pt x="24293" y="113927"/>
                        <a:pt x="34446" y="82590"/>
                      </a:cubicBezTo>
                      <a:cubicBezTo>
                        <a:pt x="-207" y="73525"/>
                        <a:pt x="19683" y="14062"/>
                        <a:pt x="28955" y="6810"/>
                      </a:cubicBezTo>
                      <a:cubicBezTo>
                        <a:pt x="45789" y="-6295"/>
                        <a:pt x="75210" y="3650"/>
                        <a:pt x="95411" y="3081"/>
                      </a:cubicBezTo>
                      <a:close/>
                    </a:path>
                  </a:pathLst>
                </a:custGeom>
                <a:grpFill/>
                <a:ln w="5174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C68BCC3A-DC79-1675-B4D5-8A9978212C60}"/>
              </a:ext>
            </a:extLst>
          </p:cNvPr>
          <p:cNvSpPr txBox="1">
            <a:spLocks/>
          </p:cNvSpPr>
          <p:nvPr/>
        </p:nvSpPr>
        <p:spPr>
          <a:xfrm>
            <a:off x="8722086" y="4863335"/>
            <a:ext cx="20351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36B1B3-DFAA-4293-B79F-CB37BF7A9667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2D0F64"/>
                </a:solidFill>
                <a:effectLst/>
                <a:uLnTx/>
                <a:uFillTx/>
                <a:latin typeface="Circular Std Light" panose="020B0404020101020102" pitchFamily="34" charset="0"/>
                <a:ea typeface="Circular Std Light" panose="020B0404020101020102" pitchFamily="34" charset="0"/>
                <a:cs typeface="Circular Std Light" panose="020B0404020101020102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2D0F64"/>
              </a:solidFill>
              <a:effectLst/>
              <a:uLnTx/>
              <a:uFillTx/>
              <a:latin typeface="Circular Std Light" panose="020B0404020101020102" pitchFamily="34" charset="0"/>
              <a:ea typeface="Circular Std Light" panose="020B0404020101020102" pitchFamily="34" charset="0"/>
              <a:cs typeface="Circular Std Light" panose="020B0404020101020102" pitchFamily="34" charset="0"/>
            </a:endParaRPr>
          </a:p>
        </p:txBody>
      </p:sp>
      <p:pic>
        <p:nvPicPr>
          <p:cNvPr id="175" name="Graphic 174">
            <a:extLst>
              <a:ext uri="{FF2B5EF4-FFF2-40B4-BE49-F238E27FC236}">
                <a16:creationId xmlns:a16="http://schemas.microsoft.com/office/drawing/2014/main" id="{E53366B3-0CF7-3F55-BFEE-A9BF95EE025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636" y="4827572"/>
            <a:ext cx="456168" cy="148338"/>
          </a:xfrm>
          <a:prstGeom prst="rect">
            <a:avLst/>
          </a:prstGeom>
        </p:spPr>
      </p:pic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5A7D34B6-1F2E-F64C-C5F2-AB3880283A5F}"/>
              </a:ext>
            </a:extLst>
          </p:cNvPr>
          <p:cNvCxnSpPr>
            <a:cxnSpLocks/>
          </p:cNvCxnSpPr>
          <p:nvPr/>
        </p:nvCxnSpPr>
        <p:spPr>
          <a:xfrm>
            <a:off x="8648395" y="4923876"/>
            <a:ext cx="91922" cy="0"/>
          </a:xfrm>
          <a:prstGeom prst="line">
            <a:avLst/>
          </a:prstGeom>
          <a:ln cap="rnd">
            <a:solidFill>
              <a:schemeClr val="accent2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447323E6-0F32-1019-A9D9-7AA0D4CFA7DA}"/>
              </a:ext>
            </a:extLst>
          </p:cNvPr>
          <p:cNvSpPr txBox="1">
            <a:spLocks/>
          </p:cNvSpPr>
          <p:nvPr/>
        </p:nvSpPr>
        <p:spPr>
          <a:xfrm>
            <a:off x="539551" y="508050"/>
            <a:ext cx="8064898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Une insertion </a:t>
            </a:r>
            <a:r>
              <a:rPr kumimoji="0" lang="fr-FR" sz="32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dans l’emploi </a:t>
            </a:r>
            <a:r>
              <a:rPr kumimoji="0" lang="fr-FR" sz="3200" b="0" i="0" u="none" strike="noStrike" kern="1200" cap="none" spc="0" normalizeH="0" baseline="0" noProof="1">
                <a:ln>
                  <a:noFill/>
                </a:ln>
                <a:solidFill>
                  <a:srgbClr val="7850DC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de qualité et durabl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EF0BFCF-40D3-C5B7-AFBA-F67E7855ACC2}"/>
              </a:ext>
            </a:extLst>
          </p:cNvPr>
          <p:cNvSpPr txBox="1">
            <a:spLocks/>
          </p:cNvSpPr>
          <p:nvPr/>
        </p:nvSpPr>
        <p:spPr>
          <a:xfrm>
            <a:off x="529617" y="975105"/>
            <a:ext cx="1891646" cy="1477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600" b="0" i="1" u="none" strike="noStrike" kern="1200" cap="none" spc="0" normalizeH="0" baseline="0" noProof="0" dirty="0">
                <a:ln>
                  <a:noFill/>
                </a:ln>
                <a:solidFill>
                  <a:srgbClr val="EF5A61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6</a:t>
            </a:r>
          </a:p>
        </p:txBody>
      </p:sp>
      <p:sp useBgFill="1">
        <p:nvSpPr>
          <p:cNvPr id="54" name="Parallelogram 53">
            <a:extLst>
              <a:ext uri="{FF2B5EF4-FFF2-40B4-BE49-F238E27FC236}">
                <a16:creationId xmlns:a16="http://schemas.microsoft.com/office/drawing/2014/main" id="{B4A3C070-7136-5956-0685-B68337F70987}"/>
              </a:ext>
            </a:extLst>
          </p:cNvPr>
          <p:cNvSpPr/>
          <p:nvPr/>
        </p:nvSpPr>
        <p:spPr>
          <a:xfrm>
            <a:off x="633238" y="1911697"/>
            <a:ext cx="1375419" cy="49265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2E8E20E-C90C-1407-7DA3-61BEC03032EE}"/>
              </a:ext>
            </a:extLst>
          </p:cNvPr>
          <p:cNvSpPr txBox="1">
            <a:spLocks/>
          </p:cNvSpPr>
          <p:nvPr/>
        </p:nvSpPr>
        <p:spPr>
          <a:xfrm>
            <a:off x="794535" y="1965631"/>
            <a:ext cx="764100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MOIS APRÈS LEUR CONTRAT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97895D0-99F5-05F6-A1EB-8E03A5BAE6DC}"/>
              </a:ext>
            </a:extLst>
          </p:cNvPr>
          <p:cNvCxnSpPr>
            <a:cxnSpLocks/>
          </p:cNvCxnSpPr>
          <p:nvPr/>
        </p:nvCxnSpPr>
        <p:spPr>
          <a:xfrm>
            <a:off x="539551" y="2563213"/>
            <a:ext cx="189358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0E0CA68E-C78C-70BF-664E-D138D9566463}"/>
              </a:ext>
            </a:extLst>
          </p:cNvPr>
          <p:cNvGrpSpPr/>
          <p:nvPr/>
        </p:nvGrpSpPr>
        <p:grpSpPr>
          <a:xfrm>
            <a:off x="1354528" y="2706910"/>
            <a:ext cx="1891646" cy="1477328"/>
            <a:chOff x="585063" y="2706910"/>
            <a:chExt cx="1891646" cy="147732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80E5612-65C1-82CC-B2F3-11ED7762D45F}"/>
                </a:ext>
              </a:extLst>
            </p:cNvPr>
            <p:cNvSpPr txBox="1">
              <a:spLocks/>
            </p:cNvSpPr>
            <p:nvPr/>
          </p:nvSpPr>
          <p:spPr>
            <a:xfrm>
              <a:off x="585063" y="2706910"/>
              <a:ext cx="1891646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600" b="0" i="1" u="none" strike="noStrike" kern="1200" cap="none" spc="0" normalizeH="0" baseline="0" noProof="0" dirty="0">
                  <a:ln>
                    <a:noFill/>
                  </a:ln>
                  <a:solidFill>
                    <a:srgbClr val="7850DC"/>
                  </a:solidFill>
                  <a:effectLst/>
                  <a:uLnTx/>
                  <a:uFillTx/>
                  <a:latin typeface="Rift Demi" panose="00000500000000000000" pitchFamily="50" charset="0"/>
                  <a:ea typeface="+mn-ea"/>
                  <a:cs typeface="Circular Std Bold" panose="020B0804020101010102" pitchFamily="34" charset="0"/>
                </a:rPr>
                <a:t>24</a:t>
              </a:r>
            </a:p>
          </p:txBody>
        </p:sp>
        <p:sp useBgFill="1">
          <p:nvSpPr>
            <p:cNvPr id="12" name="Parallelogram 11">
              <a:extLst>
                <a:ext uri="{FF2B5EF4-FFF2-40B4-BE49-F238E27FC236}">
                  <a16:creationId xmlns:a16="http://schemas.microsoft.com/office/drawing/2014/main" id="{92BE6F75-364C-1A98-E912-0F9D548D29B7}"/>
                </a:ext>
              </a:extLst>
            </p:cNvPr>
            <p:cNvSpPr/>
            <p:nvPr/>
          </p:nvSpPr>
          <p:spPr>
            <a:xfrm>
              <a:off x="778475" y="3667122"/>
              <a:ext cx="958571" cy="492650"/>
            </a:xfrm>
            <a:prstGeom prst="parallelogram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4FE391C-D59A-5E15-BAAB-995020EDBB9C}"/>
                </a:ext>
              </a:extLst>
            </p:cNvPr>
            <p:cNvSpPr txBox="1">
              <a:spLocks/>
            </p:cNvSpPr>
            <p:nvPr/>
          </p:nvSpPr>
          <p:spPr>
            <a:xfrm>
              <a:off x="900979" y="3688293"/>
              <a:ext cx="13680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ift Demi" panose="00000500000000000000" pitchFamily="50" charset="0"/>
                  <a:ea typeface="+mn-ea"/>
                  <a:cs typeface="Circular Std Bold" panose="020B0804020101010102" pitchFamily="34" charset="0"/>
                </a:rPr>
                <a:t>MOIS APRÈS </a:t>
              </a:r>
              <a:br>
                <a:rPr kumimoji="0" lang="fr-F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ift Demi" panose="00000500000000000000" pitchFamily="50" charset="0"/>
                  <a:ea typeface="+mn-ea"/>
                  <a:cs typeface="Circular Std Bold" panose="020B0804020101010102" pitchFamily="34" charset="0"/>
                </a:rPr>
              </a:br>
              <a:r>
                <a:rPr kumimoji="0" lang="fr-F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ift Demi" panose="00000500000000000000" pitchFamily="50" charset="0"/>
                  <a:ea typeface="+mn-ea"/>
                  <a:cs typeface="Circular Std Bold" panose="020B0804020101010102" pitchFamily="34" charset="0"/>
                </a:rPr>
                <a:t>LEUR CONTRAT</a:t>
              </a: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25DD59B-57A5-87F7-D6EB-6B6A980E39BC}"/>
              </a:ext>
            </a:extLst>
          </p:cNvPr>
          <p:cNvCxnSpPr>
            <a:cxnSpLocks/>
          </p:cNvCxnSpPr>
          <p:nvPr/>
        </p:nvCxnSpPr>
        <p:spPr>
          <a:xfrm>
            <a:off x="539551" y="4214567"/>
            <a:ext cx="189358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904C7CC-0844-87DD-C7C7-A81FE8774551}"/>
              </a:ext>
            </a:extLst>
          </p:cNvPr>
          <p:cNvGrpSpPr>
            <a:grpSpLocks/>
          </p:cNvGrpSpPr>
          <p:nvPr/>
        </p:nvGrpSpPr>
        <p:grpSpPr>
          <a:xfrm>
            <a:off x="523941" y="2951929"/>
            <a:ext cx="770319" cy="945982"/>
            <a:chOff x="635712" y="1439914"/>
            <a:chExt cx="493463" cy="620165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7023786-5853-F562-1BC3-E1BE4EA9FB48}"/>
                </a:ext>
              </a:extLst>
            </p:cNvPr>
            <p:cNvSpPr>
              <a:spLocks/>
            </p:cNvSpPr>
            <p:nvPr/>
          </p:nvSpPr>
          <p:spPr>
            <a:xfrm rot="477057">
              <a:off x="706620" y="1627663"/>
              <a:ext cx="320310" cy="432416"/>
            </a:xfrm>
            <a:custGeom>
              <a:avLst/>
              <a:gdLst>
                <a:gd name="csX0" fmla="*/ 189987 w 676111"/>
                <a:gd name="csY0" fmla="*/ 0 h 912748"/>
                <a:gd name="csX1" fmla="*/ 213969 w 676111"/>
                <a:gd name="csY1" fmla="*/ 0 h 912748"/>
                <a:gd name="csX2" fmla="*/ 640442 w 676111"/>
                <a:gd name="csY2" fmla="*/ 0 h 912748"/>
                <a:gd name="csX3" fmla="*/ 642305 w 676111"/>
                <a:gd name="csY3" fmla="*/ 0 h 912748"/>
                <a:gd name="csX4" fmla="*/ 676111 w 676111"/>
                <a:gd name="csY4" fmla="*/ 33805 h 912748"/>
                <a:gd name="csX5" fmla="*/ 676111 w 676111"/>
                <a:gd name="csY5" fmla="*/ 422569 h 912748"/>
                <a:gd name="csX6" fmla="*/ 676110 w 676111"/>
                <a:gd name="csY6" fmla="*/ 422571 h 912748"/>
                <a:gd name="csX7" fmla="*/ 676110 w 676111"/>
                <a:gd name="csY7" fmla="*/ 877080 h 912748"/>
                <a:gd name="csX8" fmla="*/ 640442 w 676111"/>
                <a:gd name="csY8" fmla="*/ 912748 h 912748"/>
                <a:gd name="csX9" fmla="*/ 523986 w 676111"/>
                <a:gd name="csY9" fmla="*/ 912748 h 912748"/>
                <a:gd name="csX10" fmla="*/ 213969 w 676111"/>
                <a:gd name="csY10" fmla="*/ 912748 h 912748"/>
                <a:gd name="csX11" fmla="*/ 33805 w 676111"/>
                <a:gd name="csY11" fmla="*/ 912748 h 912748"/>
                <a:gd name="csX12" fmla="*/ 0 w 676111"/>
                <a:gd name="csY12" fmla="*/ 878943 h 912748"/>
                <a:gd name="csX13" fmla="*/ 0 w 676111"/>
                <a:gd name="csY13" fmla="*/ 189987 h 912748"/>
                <a:gd name="csX14" fmla="*/ 14874 w 676111"/>
                <a:gd name="csY14" fmla="*/ 154153 h 912748"/>
                <a:gd name="csX15" fmla="*/ 154153 w 676111"/>
                <a:gd name="csY15" fmla="*/ 14874 h 912748"/>
                <a:gd name="csX16" fmla="*/ 189987 w 676111"/>
                <a:gd name="csY16" fmla="*/ 0 h 91274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676111" h="912748">
                  <a:moveTo>
                    <a:pt x="189987" y="0"/>
                  </a:moveTo>
                  <a:lnTo>
                    <a:pt x="213969" y="0"/>
                  </a:lnTo>
                  <a:lnTo>
                    <a:pt x="640442" y="0"/>
                  </a:lnTo>
                  <a:lnTo>
                    <a:pt x="642305" y="0"/>
                  </a:lnTo>
                  <a:cubicBezTo>
                    <a:pt x="660952" y="56"/>
                    <a:pt x="676055" y="15159"/>
                    <a:pt x="676111" y="33805"/>
                  </a:cubicBezTo>
                  <a:lnTo>
                    <a:pt x="676111" y="422569"/>
                  </a:lnTo>
                  <a:lnTo>
                    <a:pt x="676110" y="422571"/>
                  </a:lnTo>
                  <a:lnTo>
                    <a:pt x="676110" y="877080"/>
                  </a:lnTo>
                  <a:cubicBezTo>
                    <a:pt x="676110" y="896779"/>
                    <a:pt x="660141" y="912748"/>
                    <a:pt x="640442" y="912748"/>
                  </a:cubicBezTo>
                  <a:lnTo>
                    <a:pt x="523986" y="912748"/>
                  </a:lnTo>
                  <a:lnTo>
                    <a:pt x="213969" y="912748"/>
                  </a:lnTo>
                  <a:lnTo>
                    <a:pt x="33805" y="912748"/>
                  </a:lnTo>
                  <a:cubicBezTo>
                    <a:pt x="15159" y="912692"/>
                    <a:pt x="56" y="897590"/>
                    <a:pt x="0" y="878943"/>
                  </a:cubicBezTo>
                  <a:lnTo>
                    <a:pt x="0" y="189987"/>
                  </a:lnTo>
                  <a:cubicBezTo>
                    <a:pt x="40" y="176548"/>
                    <a:pt x="5386" y="163669"/>
                    <a:pt x="14874" y="154153"/>
                  </a:cubicBezTo>
                  <a:lnTo>
                    <a:pt x="154153" y="14874"/>
                  </a:lnTo>
                  <a:cubicBezTo>
                    <a:pt x="163669" y="5386"/>
                    <a:pt x="176548" y="40"/>
                    <a:pt x="189987" y="0"/>
                  </a:cubicBezTo>
                  <a:close/>
                </a:path>
              </a:pathLst>
            </a:custGeom>
            <a:gradFill>
              <a:gsLst>
                <a:gs pos="4000">
                  <a:schemeClr val="accent2"/>
                </a:gs>
                <a:gs pos="83000">
                  <a:schemeClr val="accent2">
                    <a:lumMod val="60000"/>
                    <a:lumOff val="40000"/>
                  </a:schemeClr>
                </a:gs>
              </a:gsLst>
              <a:lin ang="0" scaled="1"/>
            </a:gradFill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85D743F-7214-3B23-8208-FC0F3677FE06}"/>
                </a:ext>
              </a:extLst>
            </p:cNvPr>
            <p:cNvSpPr>
              <a:spLocks/>
            </p:cNvSpPr>
            <p:nvPr/>
          </p:nvSpPr>
          <p:spPr>
            <a:xfrm>
              <a:off x="635712" y="1570413"/>
              <a:ext cx="352221" cy="475496"/>
            </a:xfrm>
            <a:custGeom>
              <a:avLst/>
              <a:gdLst>
                <a:gd name="csX0" fmla="*/ 189987 w 676111"/>
                <a:gd name="csY0" fmla="*/ 0 h 912748"/>
                <a:gd name="csX1" fmla="*/ 213969 w 676111"/>
                <a:gd name="csY1" fmla="*/ 0 h 912748"/>
                <a:gd name="csX2" fmla="*/ 640442 w 676111"/>
                <a:gd name="csY2" fmla="*/ 0 h 912748"/>
                <a:gd name="csX3" fmla="*/ 642305 w 676111"/>
                <a:gd name="csY3" fmla="*/ 0 h 912748"/>
                <a:gd name="csX4" fmla="*/ 676111 w 676111"/>
                <a:gd name="csY4" fmla="*/ 33805 h 912748"/>
                <a:gd name="csX5" fmla="*/ 676111 w 676111"/>
                <a:gd name="csY5" fmla="*/ 422569 h 912748"/>
                <a:gd name="csX6" fmla="*/ 676110 w 676111"/>
                <a:gd name="csY6" fmla="*/ 422571 h 912748"/>
                <a:gd name="csX7" fmla="*/ 676110 w 676111"/>
                <a:gd name="csY7" fmla="*/ 877080 h 912748"/>
                <a:gd name="csX8" fmla="*/ 640442 w 676111"/>
                <a:gd name="csY8" fmla="*/ 912748 h 912748"/>
                <a:gd name="csX9" fmla="*/ 523986 w 676111"/>
                <a:gd name="csY9" fmla="*/ 912748 h 912748"/>
                <a:gd name="csX10" fmla="*/ 213969 w 676111"/>
                <a:gd name="csY10" fmla="*/ 912748 h 912748"/>
                <a:gd name="csX11" fmla="*/ 33805 w 676111"/>
                <a:gd name="csY11" fmla="*/ 912748 h 912748"/>
                <a:gd name="csX12" fmla="*/ 0 w 676111"/>
                <a:gd name="csY12" fmla="*/ 878943 h 912748"/>
                <a:gd name="csX13" fmla="*/ 0 w 676111"/>
                <a:gd name="csY13" fmla="*/ 189987 h 912748"/>
                <a:gd name="csX14" fmla="*/ 14874 w 676111"/>
                <a:gd name="csY14" fmla="*/ 154153 h 912748"/>
                <a:gd name="csX15" fmla="*/ 154153 w 676111"/>
                <a:gd name="csY15" fmla="*/ 14874 h 912748"/>
                <a:gd name="csX16" fmla="*/ 189987 w 676111"/>
                <a:gd name="csY16" fmla="*/ 0 h 91274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676111" h="912748">
                  <a:moveTo>
                    <a:pt x="189987" y="0"/>
                  </a:moveTo>
                  <a:lnTo>
                    <a:pt x="213969" y="0"/>
                  </a:lnTo>
                  <a:lnTo>
                    <a:pt x="640442" y="0"/>
                  </a:lnTo>
                  <a:lnTo>
                    <a:pt x="642305" y="0"/>
                  </a:lnTo>
                  <a:cubicBezTo>
                    <a:pt x="660952" y="56"/>
                    <a:pt x="676055" y="15159"/>
                    <a:pt x="676111" y="33805"/>
                  </a:cubicBezTo>
                  <a:lnTo>
                    <a:pt x="676111" y="422569"/>
                  </a:lnTo>
                  <a:lnTo>
                    <a:pt x="676110" y="422571"/>
                  </a:lnTo>
                  <a:lnTo>
                    <a:pt x="676110" y="877080"/>
                  </a:lnTo>
                  <a:cubicBezTo>
                    <a:pt x="676110" y="896779"/>
                    <a:pt x="660141" y="912748"/>
                    <a:pt x="640442" y="912748"/>
                  </a:cubicBezTo>
                  <a:lnTo>
                    <a:pt x="523986" y="912748"/>
                  </a:lnTo>
                  <a:lnTo>
                    <a:pt x="213969" y="912748"/>
                  </a:lnTo>
                  <a:lnTo>
                    <a:pt x="33805" y="912748"/>
                  </a:lnTo>
                  <a:cubicBezTo>
                    <a:pt x="15159" y="912692"/>
                    <a:pt x="56" y="897590"/>
                    <a:pt x="0" y="878943"/>
                  </a:cubicBezTo>
                  <a:lnTo>
                    <a:pt x="0" y="189987"/>
                  </a:lnTo>
                  <a:cubicBezTo>
                    <a:pt x="40" y="176548"/>
                    <a:pt x="5386" y="163669"/>
                    <a:pt x="14874" y="154153"/>
                  </a:cubicBezTo>
                  <a:lnTo>
                    <a:pt x="154153" y="14874"/>
                  </a:lnTo>
                  <a:cubicBezTo>
                    <a:pt x="163669" y="5386"/>
                    <a:pt x="176548" y="40"/>
                    <a:pt x="189987" y="0"/>
                  </a:cubicBezTo>
                  <a:close/>
                </a:path>
              </a:pathLst>
            </a:custGeom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8900000" scaled="1"/>
            </a:gradFill>
            <a:ln w="124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fr-FR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DE7A59E-0651-CC1B-C5E7-7E83AA0D0092}"/>
                </a:ext>
              </a:extLst>
            </p:cNvPr>
            <p:cNvSpPr/>
            <p:nvPr/>
          </p:nvSpPr>
          <p:spPr>
            <a:xfrm>
              <a:off x="638178" y="1572879"/>
              <a:ext cx="85589" cy="85589"/>
            </a:xfrm>
            <a:custGeom>
              <a:avLst/>
              <a:gdLst>
                <a:gd name="csX0" fmla="*/ 224344 w 224344"/>
                <a:gd name="csY0" fmla="*/ 0 h 224344"/>
                <a:gd name="csX1" fmla="*/ 224344 w 224344"/>
                <a:gd name="csY1" fmla="*/ 178183 h 224344"/>
                <a:gd name="csX2" fmla="*/ 178183 w 224344"/>
                <a:gd name="csY2" fmla="*/ 224344 h 224344"/>
                <a:gd name="csX3" fmla="*/ 0 w 224344"/>
                <a:gd name="csY3" fmla="*/ 224344 h 224344"/>
                <a:gd name="csX4" fmla="*/ 13848 w 224344"/>
                <a:gd name="csY4" fmla="*/ 204033 h 224344"/>
                <a:gd name="csX5" fmla="*/ 204033 w 224344"/>
                <a:gd name="csY5" fmla="*/ 13848 h 224344"/>
                <a:gd name="csX6" fmla="*/ 224344 w 224344"/>
                <a:gd name="csY6" fmla="*/ 0 h 22434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24344" h="224344">
                  <a:moveTo>
                    <a:pt x="224344" y="0"/>
                  </a:moveTo>
                  <a:lnTo>
                    <a:pt x="224344" y="178183"/>
                  </a:lnTo>
                  <a:cubicBezTo>
                    <a:pt x="224268" y="203645"/>
                    <a:pt x="203645" y="224268"/>
                    <a:pt x="178183" y="224344"/>
                  </a:cubicBezTo>
                  <a:lnTo>
                    <a:pt x="0" y="224344"/>
                  </a:lnTo>
                  <a:cubicBezTo>
                    <a:pt x="3308" y="216769"/>
                    <a:pt x="8005" y="209880"/>
                    <a:pt x="13848" y="204033"/>
                  </a:cubicBezTo>
                  <a:lnTo>
                    <a:pt x="204033" y="13848"/>
                  </a:lnTo>
                  <a:cubicBezTo>
                    <a:pt x="209880" y="8005"/>
                    <a:pt x="216769" y="3308"/>
                    <a:pt x="224344" y="0"/>
                  </a:cubicBezTo>
                  <a:close/>
                </a:path>
              </a:pathLst>
            </a:custGeom>
            <a:gradFill>
              <a:gsLst>
                <a:gs pos="4000">
                  <a:schemeClr val="accent2">
                    <a:lumMod val="20000"/>
                    <a:lumOff val="80000"/>
                  </a:schemeClr>
                </a:gs>
                <a:gs pos="83000">
                  <a:schemeClr val="bg1"/>
                </a:gs>
              </a:gsLst>
              <a:lin ang="0" scaled="1"/>
            </a:gradFill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B951669-8B4A-03CA-84A2-2D9A370F2803}"/>
                </a:ext>
              </a:extLst>
            </p:cNvPr>
            <p:cNvSpPr/>
            <p:nvPr/>
          </p:nvSpPr>
          <p:spPr>
            <a:xfrm>
              <a:off x="890342" y="1465955"/>
              <a:ext cx="212791" cy="212789"/>
            </a:xfrm>
            <a:custGeom>
              <a:avLst/>
              <a:gdLst>
                <a:gd name="csX0" fmla="*/ 784743 w 784742"/>
                <a:gd name="csY0" fmla="*/ 392371 h 784742"/>
                <a:gd name="csX1" fmla="*/ 392371 w 784742"/>
                <a:gd name="csY1" fmla="*/ 784743 h 784742"/>
                <a:gd name="csX2" fmla="*/ 0 w 784742"/>
                <a:gd name="csY2" fmla="*/ 392371 h 784742"/>
                <a:gd name="csX3" fmla="*/ 392371 w 784742"/>
                <a:gd name="csY3" fmla="*/ 0 h 784742"/>
                <a:gd name="csX4" fmla="*/ 784743 w 784742"/>
                <a:gd name="csY4" fmla="*/ 392371 h 78474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784742" h="784742">
                  <a:moveTo>
                    <a:pt x="784743" y="392371"/>
                  </a:moveTo>
                  <a:cubicBezTo>
                    <a:pt x="784743" y="609072"/>
                    <a:pt x="609072" y="784743"/>
                    <a:pt x="392371" y="784743"/>
                  </a:cubicBezTo>
                  <a:cubicBezTo>
                    <a:pt x="175671" y="784743"/>
                    <a:pt x="0" y="609072"/>
                    <a:pt x="0" y="392371"/>
                  </a:cubicBezTo>
                  <a:cubicBezTo>
                    <a:pt x="0" y="175671"/>
                    <a:pt x="175671" y="0"/>
                    <a:pt x="392371" y="0"/>
                  </a:cubicBezTo>
                  <a:cubicBezTo>
                    <a:pt x="609072" y="0"/>
                    <a:pt x="784743" y="175671"/>
                    <a:pt x="784743" y="392371"/>
                  </a:cubicBezTo>
                  <a:close/>
                </a:path>
              </a:pathLst>
            </a:custGeom>
            <a:gradFill>
              <a:gsLst>
                <a:gs pos="4000">
                  <a:schemeClr val="accent2">
                    <a:lumMod val="20000"/>
                    <a:lumOff val="80000"/>
                  </a:schemeClr>
                </a:gs>
                <a:gs pos="83000">
                  <a:schemeClr val="bg1"/>
                </a:gs>
              </a:gsLst>
              <a:lin ang="0" scaled="1"/>
            </a:gradFill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CE2E5DE-8D22-8D5B-38B8-6E8CD6431F1C}"/>
                </a:ext>
              </a:extLst>
            </p:cNvPr>
            <p:cNvSpPr/>
            <p:nvPr/>
          </p:nvSpPr>
          <p:spPr>
            <a:xfrm>
              <a:off x="679848" y="1949048"/>
              <a:ext cx="149585" cy="61708"/>
            </a:xfrm>
            <a:custGeom>
              <a:avLst/>
              <a:gdLst>
                <a:gd name="csX0" fmla="*/ 369007 w 392087"/>
                <a:gd name="csY0" fmla="*/ 161565 h 161746"/>
                <a:gd name="csX1" fmla="*/ 253604 w 392087"/>
                <a:gd name="csY1" fmla="*/ 113095 h 161746"/>
                <a:gd name="csX2" fmla="*/ 138200 w 392087"/>
                <a:gd name="csY2" fmla="*/ 161565 h 161746"/>
                <a:gd name="csX3" fmla="*/ 115120 w 392087"/>
                <a:gd name="csY3" fmla="*/ 157987 h 161746"/>
                <a:gd name="csX4" fmla="*/ 92039 w 392087"/>
                <a:gd name="csY4" fmla="*/ 161565 h 161746"/>
                <a:gd name="csX5" fmla="*/ 6479 w 392087"/>
                <a:gd name="csY5" fmla="*/ 131721 h 161746"/>
                <a:gd name="csX6" fmla="*/ 7046 w 392087"/>
                <a:gd name="csY6" fmla="*/ 99085 h 161746"/>
                <a:gd name="csX7" fmla="*/ 39115 w 392087"/>
                <a:gd name="csY7" fmla="*/ 99085 h 161746"/>
                <a:gd name="csX8" fmla="*/ 54810 w 392087"/>
                <a:gd name="csY8" fmla="*/ 108318 h 161746"/>
                <a:gd name="csX9" fmla="*/ 45878 w 392087"/>
                <a:gd name="csY9" fmla="*/ 69242 h 161746"/>
                <a:gd name="csX10" fmla="*/ 115120 w 392087"/>
                <a:gd name="csY10" fmla="*/ 0 h 161746"/>
                <a:gd name="csX11" fmla="*/ 184362 w 392087"/>
                <a:gd name="csY11" fmla="*/ 69242 h 161746"/>
                <a:gd name="csX12" fmla="*/ 174275 w 392087"/>
                <a:gd name="csY12" fmla="*/ 110603 h 161746"/>
                <a:gd name="csX13" fmla="*/ 231723 w 392087"/>
                <a:gd name="csY13" fmla="*/ 61948 h 161746"/>
                <a:gd name="csX14" fmla="*/ 260857 w 392087"/>
                <a:gd name="csY14" fmla="*/ 47229 h 161746"/>
                <a:gd name="csX15" fmla="*/ 275577 w 392087"/>
                <a:gd name="csY15" fmla="*/ 61948 h 161746"/>
                <a:gd name="csX16" fmla="*/ 369007 w 392087"/>
                <a:gd name="csY16" fmla="*/ 115403 h 161746"/>
                <a:gd name="csX17" fmla="*/ 392088 w 392087"/>
                <a:gd name="csY17" fmla="*/ 138484 h 161746"/>
                <a:gd name="csX18" fmla="*/ 369007 w 392087"/>
                <a:gd name="csY18" fmla="*/ 161565 h 161746"/>
                <a:gd name="csX19" fmla="*/ 115120 w 392087"/>
                <a:gd name="csY19" fmla="*/ 46161 h 161746"/>
                <a:gd name="csX20" fmla="*/ 92039 w 392087"/>
                <a:gd name="csY20" fmla="*/ 69242 h 161746"/>
                <a:gd name="csX21" fmla="*/ 115120 w 392087"/>
                <a:gd name="csY21" fmla="*/ 107810 h 161746"/>
                <a:gd name="csX22" fmla="*/ 138200 w 392087"/>
                <a:gd name="csY22" fmla="*/ 69242 h 161746"/>
                <a:gd name="csX23" fmla="*/ 115120 w 392087"/>
                <a:gd name="csY23" fmla="*/ 46161 h 16174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</a:cxnLst>
              <a:rect l="l" t="t" r="r" b="b"/>
              <a:pathLst>
                <a:path w="392087" h="161746">
                  <a:moveTo>
                    <a:pt x="369007" y="161565"/>
                  </a:moveTo>
                  <a:cubicBezTo>
                    <a:pt x="325176" y="163764"/>
                    <a:pt x="282720" y="145932"/>
                    <a:pt x="253604" y="113095"/>
                  </a:cubicBezTo>
                  <a:cubicBezTo>
                    <a:pt x="224488" y="145932"/>
                    <a:pt x="182031" y="163764"/>
                    <a:pt x="138200" y="161565"/>
                  </a:cubicBezTo>
                  <a:cubicBezTo>
                    <a:pt x="130376" y="161471"/>
                    <a:pt x="122605" y="160267"/>
                    <a:pt x="115120" y="157987"/>
                  </a:cubicBezTo>
                  <a:cubicBezTo>
                    <a:pt x="107634" y="160267"/>
                    <a:pt x="99863" y="161471"/>
                    <a:pt x="92039" y="161565"/>
                  </a:cubicBezTo>
                  <a:cubicBezTo>
                    <a:pt x="60752" y="162922"/>
                    <a:pt x="30134" y="152243"/>
                    <a:pt x="6479" y="131721"/>
                  </a:cubicBezTo>
                  <a:cubicBezTo>
                    <a:pt x="-2377" y="122553"/>
                    <a:pt x="-2123" y="107941"/>
                    <a:pt x="7046" y="99085"/>
                  </a:cubicBezTo>
                  <a:cubicBezTo>
                    <a:pt x="15991" y="90447"/>
                    <a:pt x="30171" y="90447"/>
                    <a:pt x="39115" y="99085"/>
                  </a:cubicBezTo>
                  <a:cubicBezTo>
                    <a:pt x="43822" y="102978"/>
                    <a:pt x="49120" y="106095"/>
                    <a:pt x="54810" y="108318"/>
                  </a:cubicBezTo>
                  <a:cubicBezTo>
                    <a:pt x="48856" y="96157"/>
                    <a:pt x="45799" y="82782"/>
                    <a:pt x="45878" y="69242"/>
                  </a:cubicBezTo>
                  <a:cubicBezTo>
                    <a:pt x="45878" y="31001"/>
                    <a:pt x="76878" y="0"/>
                    <a:pt x="115120" y="0"/>
                  </a:cubicBezTo>
                  <a:cubicBezTo>
                    <a:pt x="153361" y="0"/>
                    <a:pt x="184362" y="31001"/>
                    <a:pt x="184362" y="69242"/>
                  </a:cubicBezTo>
                  <a:cubicBezTo>
                    <a:pt x="184469" y="83650"/>
                    <a:pt x="181003" y="97861"/>
                    <a:pt x="174275" y="110603"/>
                  </a:cubicBezTo>
                  <a:cubicBezTo>
                    <a:pt x="199926" y="104155"/>
                    <a:pt x="221141" y="86187"/>
                    <a:pt x="231723" y="61948"/>
                  </a:cubicBezTo>
                  <a:cubicBezTo>
                    <a:pt x="235704" y="49839"/>
                    <a:pt x="248747" y="43249"/>
                    <a:pt x="260857" y="47229"/>
                  </a:cubicBezTo>
                  <a:cubicBezTo>
                    <a:pt x="267823" y="49519"/>
                    <a:pt x="273287" y="54982"/>
                    <a:pt x="275577" y="61948"/>
                  </a:cubicBezTo>
                  <a:cubicBezTo>
                    <a:pt x="276200" y="63933"/>
                    <a:pt x="295426" y="115403"/>
                    <a:pt x="369007" y="115403"/>
                  </a:cubicBezTo>
                  <a:cubicBezTo>
                    <a:pt x="381754" y="115403"/>
                    <a:pt x="392088" y="125737"/>
                    <a:pt x="392088" y="138484"/>
                  </a:cubicBezTo>
                  <a:cubicBezTo>
                    <a:pt x="392088" y="151231"/>
                    <a:pt x="381754" y="161565"/>
                    <a:pt x="369007" y="161565"/>
                  </a:cubicBezTo>
                  <a:close/>
                  <a:moveTo>
                    <a:pt x="115120" y="46161"/>
                  </a:moveTo>
                  <a:cubicBezTo>
                    <a:pt x="102373" y="46161"/>
                    <a:pt x="92039" y="56495"/>
                    <a:pt x="92039" y="69242"/>
                  </a:cubicBezTo>
                  <a:cubicBezTo>
                    <a:pt x="92183" y="85328"/>
                    <a:pt x="101011" y="100080"/>
                    <a:pt x="115120" y="107810"/>
                  </a:cubicBezTo>
                  <a:cubicBezTo>
                    <a:pt x="129228" y="100080"/>
                    <a:pt x="138056" y="85328"/>
                    <a:pt x="138200" y="69242"/>
                  </a:cubicBezTo>
                  <a:cubicBezTo>
                    <a:pt x="138200" y="56495"/>
                    <a:pt x="127867" y="46161"/>
                    <a:pt x="115120" y="46161"/>
                  </a:cubicBezTo>
                  <a:close/>
                </a:path>
              </a:pathLst>
            </a:custGeom>
            <a:gradFill>
              <a:gsLst>
                <a:gs pos="4000">
                  <a:schemeClr val="accent2">
                    <a:lumMod val="20000"/>
                    <a:lumOff val="80000"/>
                  </a:schemeClr>
                </a:gs>
                <a:gs pos="83000">
                  <a:schemeClr val="bg1"/>
                </a:gs>
              </a:gsLst>
              <a:lin ang="0" scaled="1"/>
            </a:gradFill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grpSp>
          <p:nvGrpSpPr>
            <p:cNvPr id="9" name="Graphic 64">
              <a:extLst>
                <a:ext uri="{FF2B5EF4-FFF2-40B4-BE49-F238E27FC236}">
                  <a16:creationId xmlns:a16="http://schemas.microsoft.com/office/drawing/2014/main" id="{D2D06658-78CB-1EF4-C7FC-7B8D4ED4F5E0}"/>
                </a:ext>
              </a:extLst>
            </p:cNvPr>
            <p:cNvGrpSpPr/>
            <p:nvPr/>
          </p:nvGrpSpPr>
          <p:grpSpPr>
            <a:xfrm>
              <a:off x="670934" y="1693690"/>
              <a:ext cx="281776" cy="228942"/>
              <a:chOff x="2061661" y="-115204"/>
              <a:chExt cx="738581" cy="600097"/>
            </a:xfrm>
            <a:gradFill>
              <a:gsLst>
                <a:gs pos="4000">
                  <a:schemeClr val="accent2">
                    <a:lumMod val="20000"/>
                    <a:lumOff val="80000"/>
                  </a:schemeClr>
                </a:gs>
                <a:gs pos="83000">
                  <a:schemeClr val="bg1"/>
                </a:gs>
              </a:gsLst>
              <a:lin ang="0" scaled="1"/>
            </a:gra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DAFE8AE3-219D-8D86-7E63-9DBA5A78D8E2}"/>
                  </a:ext>
                </a:extLst>
              </p:cNvPr>
              <p:cNvSpPr/>
              <p:nvPr/>
            </p:nvSpPr>
            <p:spPr>
              <a:xfrm>
                <a:off x="2061661" y="438732"/>
                <a:ext cx="392371" cy="46161"/>
              </a:xfrm>
              <a:custGeom>
                <a:avLst/>
                <a:gdLst>
                  <a:gd name="csX0" fmla="*/ 369291 w 392371"/>
                  <a:gd name="csY0" fmla="*/ 46161 h 46161"/>
                  <a:gd name="csX1" fmla="*/ 23081 w 392371"/>
                  <a:gd name="csY1" fmla="*/ 46161 h 46161"/>
                  <a:gd name="csX2" fmla="*/ 0 w 392371"/>
                  <a:gd name="csY2" fmla="*/ 23081 h 46161"/>
                  <a:gd name="csX3" fmla="*/ 23081 w 392371"/>
                  <a:gd name="csY3" fmla="*/ 0 h 46161"/>
                  <a:gd name="csX4" fmla="*/ 369291 w 392371"/>
                  <a:gd name="csY4" fmla="*/ 0 h 46161"/>
                  <a:gd name="csX5" fmla="*/ 392371 w 392371"/>
                  <a:gd name="csY5" fmla="*/ 23081 h 46161"/>
                  <a:gd name="csX6" fmla="*/ 369291 w 392371"/>
                  <a:gd name="csY6" fmla="*/ 46161 h 4616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392371" h="46161">
                    <a:moveTo>
                      <a:pt x="369291" y="46161"/>
                    </a:moveTo>
                    <a:lnTo>
                      <a:pt x="23081" y="46161"/>
                    </a:lnTo>
                    <a:cubicBezTo>
                      <a:pt x="10334" y="46161"/>
                      <a:pt x="0" y="35828"/>
                      <a:pt x="0" y="23081"/>
                    </a:cubicBezTo>
                    <a:cubicBezTo>
                      <a:pt x="0" y="10334"/>
                      <a:pt x="10334" y="0"/>
                      <a:pt x="23081" y="0"/>
                    </a:cubicBezTo>
                    <a:lnTo>
                      <a:pt x="369291" y="0"/>
                    </a:lnTo>
                    <a:cubicBezTo>
                      <a:pt x="382038" y="0"/>
                      <a:pt x="392371" y="10334"/>
                      <a:pt x="392371" y="23081"/>
                    </a:cubicBezTo>
                    <a:cubicBezTo>
                      <a:pt x="392371" y="35828"/>
                      <a:pt x="382038" y="46161"/>
                      <a:pt x="369291" y="46161"/>
                    </a:cubicBezTo>
                    <a:close/>
                  </a:path>
                </a:pathLst>
              </a:custGeom>
              <a:grpFill/>
              <a:ln w="23019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fr-FR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A247226-86B5-3051-97A2-4F1F98F8EEF5}"/>
                  </a:ext>
                </a:extLst>
              </p:cNvPr>
              <p:cNvSpPr/>
              <p:nvPr/>
            </p:nvSpPr>
            <p:spPr>
              <a:xfrm>
                <a:off x="2061661" y="300248"/>
                <a:ext cx="415452" cy="46161"/>
              </a:xfrm>
              <a:custGeom>
                <a:avLst/>
                <a:gdLst>
                  <a:gd name="csX0" fmla="*/ 392371 w 415452"/>
                  <a:gd name="csY0" fmla="*/ 46161 h 46161"/>
                  <a:gd name="csX1" fmla="*/ 23081 w 415452"/>
                  <a:gd name="csY1" fmla="*/ 46161 h 46161"/>
                  <a:gd name="csX2" fmla="*/ 0 w 415452"/>
                  <a:gd name="csY2" fmla="*/ 23081 h 46161"/>
                  <a:gd name="csX3" fmla="*/ 23081 w 415452"/>
                  <a:gd name="csY3" fmla="*/ 0 h 46161"/>
                  <a:gd name="csX4" fmla="*/ 392371 w 415452"/>
                  <a:gd name="csY4" fmla="*/ 0 h 46161"/>
                  <a:gd name="csX5" fmla="*/ 415452 w 415452"/>
                  <a:gd name="csY5" fmla="*/ 23081 h 46161"/>
                  <a:gd name="csX6" fmla="*/ 392371 w 415452"/>
                  <a:gd name="csY6" fmla="*/ 46161 h 4616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415452" h="46161">
                    <a:moveTo>
                      <a:pt x="392371" y="46161"/>
                    </a:moveTo>
                    <a:lnTo>
                      <a:pt x="23081" y="46161"/>
                    </a:lnTo>
                    <a:cubicBezTo>
                      <a:pt x="10334" y="46161"/>
                      <a:pt x="0" y="35828"/>
                      <a:pt x="0" y="23081"/>
                    </a:cubicBezTo>
                    <a:cubicBezTo>
                      <a:pt x="0" y="10334"/>
                      <a:pt x="10334" y="0"/>
                      <a:pt x="23081" y="0"/>
                    </a:cubicBezTo>
                    <a:lnTo>
                      <a:pt x="392371" y="0"/>
                    </a:lnTo>
                    <a:cubicBezTo>
                      <a:pt x="405118" y="0"/>
                      <a:pt x="415452" y="10334"/>
                      <a:pt x="415452" y="23081"/>
                    </a:cubicBezTo>
                    <a:cubicBezTo>
                      <a:pt x="415452" y="35828"/>
                      <a:pt x="405118" y="46161"/>
                      <a:pt x="392371" y="46161"/>
                    </a:cubicBezTo>
                    <a:close/>
                  </a:path>
                </a:pathLst>
              </a:custGeom>
              <a:grpFill/>
              <a:ln w="23019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fr-FR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647C2CB9-3186-60E6-E6B4-D34CEAFCE520}"/>
                  </a:ext>
                </a:extLst>
              </p:cNvPr>
              <p:cNvSpPr/>
              <p:nvPr/>
            </p:nvSpPr>
            <p:spPr>
              <a:xfrm>
                <a:off x="2061661" y="161764"/>
                <a:ext cx="507774" cy="46161"/>
              </a:xfrm>
              <a:custGeom>
                <a:avLst/>
                <a:gdLst>
                  <a:gd name="csX0" fmla="*/ 484694 w 507774"/>
                  <a:gd name="csY0" fmla="*/ 46161 h 46161"/>
                  <a:gd name="csX1" fmla="*/ 23081 w 507774"/>
                  <a:gd name="csY1" fmla="*/ 46161 h 46161"/>
                  <a:gd name="csX2" fmla="*/ 0 w 507774"/>
                  <a:gd name="csY2" fmla="*/ 23081 h 46161"/>
                  <a:gd name="csX3" fmla="*/ 23081 w 507774"/>
                  <a:gd name="csY3" fmla="*/ 0 h 46161"/>
                  <a:gd name="csX4" fmla="*/ 484694 w 507774"/>
                  <a:gd name="csY4" fmla="*/ 0 h 46161"/>
                  <a:gd name="csX5" fmla="*/ 507775 w 507774"/>
                  <a:gd name="csY5" fmla="*/ 23081 h 46161"/>
                  <a:gd name="csX6" fmla="*/ 484694 w 507774"/>
                  <a:gd name="csY6" fmla="*/ 46161 h 4616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507774" h="46161">
                    <a:moveTo>
                      <a:pt x="484694" y="46161"/>
                    </a:moveTo>
                    <a:lnTo>
                      <a:pt x="23081" y="46161"/>
                    </a:lnTo>
                    <a:cubicBezTo>
                      <a:pt x="10334" y="46161"/>
                      <a:pt x="0" y="35828"/>
                      <a:pt x="0" y="23081"/>
                    </a:cubicBezTo>
                    <a:cubicBezTo>
                      <a:pt x="0" y="10334"/>
                      <a:pt x="10334" y="0"/>
                      <a:pt x="23081" y="0"/>
                    </a:cubicBezTo>
                    <a:lnTo>
                      <a:pt x="484694" y="0"/>
                    </a:lnTo>
                    <a:cubicBezTo>
                      <a:pt x="497441" y="0"/>
                      <a:pt x="507775" y="10334"/>
                      <a:pt x="507775" y="23081"/>
                    </a:cubicBezTo>
                    <a:cubicBezTo>
                      <a:pt x="507775" y="35828"/>
                      <a:pt x="497441" y="46161"/>
                      <a:pt x="484694" y="46161"/>
                    </a:cubicBezTo>
                    <a:close/>
                  </a:path>
                </a:pathLst>
              </a:custGeom>
              <a:grpFill/>
              <a:ln w="23019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fr-FR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5C16F5E-A097-CBAA-9A8C-9FC6D55CF514}"/>
                  </a:ext>
                </a:extLst>
              </p:cNvPr>
              <p:cNvSpPr/>
              <p:nvPr/>
            </p:nvSpPr>
            <p:spPr>
              <a:xfrm>
                <a:off x="2061661" y="23280"/>
                <a:ext cx="738581" cy="46161"/>
              </a:xfrm>
              <a:custGeom>
                <a:avLst/>
                <a:gdLst>
                  <a:gd name="csX0" fmla="*/ 715501 w 738581"/>
                  <a:gd name="csY0" fmla="*/ 46161 h 46161"/>
                  <a:gd name="csX1" fmla="*/ 23081 w 738581"/>
                  <a:gd name="csY1" fmla="*/ 46161 h 46161"/>
                  <a:gd name="csX2" fmla="*/ 0 w 738581"/>
                  <a:gd name="csY2" fmla="*/ 23081 h 46161"/>
                  <a:gd name="csX3" fmla="*/ 23081 w 738581"/>
                  <a:gd name="csY3" fmla="*/ 0 h 46161"/>
                  <a:gd name="csX4" fmla="*/ 715501 w 738581"/>
                  <a:gd name="csY4" fmla="*/ 0 h 46161"/>
                  <a:gd name="csX5" fmla="*/ 738581 w 738581"/>
                  <a:gd name="csY5" fmla="*/ 23081 h 46161"/>
                  <a:gd name="csX6" fmla="*/ 715501 w 738581"/>
                  <a:gd name="csY6" fmla="*/ 46161 h 4616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738581" h="46161">
                    <a:moveTo>
                      <a:pt x="715501" y="46161"/>
                    </a:moveTo>
                    <a:lnTo>
                      <a:pt x="23081" y="46161"/>
                    </a:lnTo>
                    <a:cubicBezTo>
                      <a:pt x="10334" y="46161"/>
                      <a:pt x="0" y="35828"/>
                      <a:pt x="0" y="23081"/>
                    </a:cubicBezTo>
                    <a:cubicBezTo>
                      <a:pt x="0" y="10334"/>
                      <a:pt x="10334" y="0"/>
                      <a:pt x="23081" y="0"/>
                    </a:cubicBezTo>
                    <a:lnTo>
                      <a:pt x="715501" y="0"/>
                    </a:lnTo>
                    <a:cubicBezTo>
                      <a:pt x="728248" y="0"/>
                      <a:pt x="738581" y="10334"/>
                      <a:pt x="738581" y="23081"/>
                    </a:cubicBezTo>
                    <a:cubicBezTo>
                      <a:pt x="738581" y="35828"/>
                      <a:pt x="728248" y="46161"/>
                      <a:pt x="715501" y="46161"/>
                    </a:cubicBezTo>
                    <a:close/>
                  </a:path>
                </a:pathLst>
              </a:custGeom>
              <a:grpFill/>
              <a:ln w="23019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fr-FR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CEC9494-91CF-FCC1-83CF-FB59CA25AB0F}"/>
                  </a:ext>
                </a:extLst>
              </p:cNvPr>
              <p:cNvSpPr/>
              <p:nvPr/>
            </p:nvSpPr>
            <p:spPr>
              <a:xfrm>
                <a:off x="2061661" y="-115204"/>
                <a:ext cx="738581" cy="46161"/>
              </a:xfrm>
              <a:custGeom>
                <a:avLst/>
                <a:gdLst>
                  <a:gd name="csX0" fmla="*/ 715501 w 738581"/>
                  <a:gd name="csY0" fmla="*/ 46161 h 46161"/>
                  <a:gd name="csX1" fmla="*/ 23081 w 738581"/>
                  <a:gd name="csY1" fmla="*/ 46161 h 46161"/>
                  <a:gd name="csX2" fmla="*/ 0 w 738581"/>
                  <a:gd name="csY2" fmla="*/ 23081 h 46161"/>
                  <a:gd name="csX3" fmla="*/ 23081 w 738581"/>
                  <a:gd name="csY3" fmla="*/ 0 h 46161"/>
                  <a:gd name="csX4" fmla="*/ 715501 w 738581"/>
                  <a:gd name="csY4" fmla="*/ 0 h 46161"/>
                  <a:gd name="csX5" fmla="*/ 738581 w 738581"/>
                  <a:gd name="csY5" fmla="*/ 23081 h 46161"/>
                  <a:gd name="csX6" fmla="*/ 715501 w 738581"/>
                  <a:gd name="csY6" fmla="*/ 46161 h 4616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</a:cxnLst>
                <a:rect l="l" t="t" r="r" b="b"/>
                <a:pathLst>
                  <a:path w="738581" h="46161">
                    <a:moveTo>
                      <a:pt x="715501" y="46161"/>
                    </a:moveTo>
                    <a:lnTo>
                      <a:pt x="23081" y="46161"/>
                    </a:lnTo>
                    <a:cubicBezTo>
                      <a:pt x="10334" y="46161"/>
                      <a:pt x="0" y="35828"/>
                      <a:pt x="0" y="23081"/>
                    </a:cubicBezTo>
                    <a:cubicBezTo>
                      <a:pt x="0" y="10334"/>
                      <a:pt x="10334" y="0"/>
                      <a:pt x="23081" y="0"/>
                    </a:cubicBezTo>
                    <a:lnTo>
                      <a:pt x="715501" y="0"/>
                    </a:lnTo>
                    <a:cubicBezTo>
                      <a:pt x="728248" y="0"/>
                      <a:pt x="738581" y="10334"/>
                      <a:pt x="738581" y="23081"/>
                    </a:cubicBezTo>
                    <a:cubicBezTo>
                      <a:pt x="738581" y="35828"/>
                      <a:pt x="728248" y="46161"/>
                      <a:pt x="715501" y="46161"/>
                    </a:cubicBezTo>
                    <a:close/>
                  </a:path>
                </a:pathLst>
              </a:custGeom>
              <a:grpFill/>
              <a:ln w="23019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fr-FR" dirty="0"/>
              </a:p>
            </p:txBody>
          </p:sp>
        </p:grp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45176399-FBCA-AE28-EEA8-11FB97F167C8}"/>
                </a:ext>
              </a:extLst>
            </p:cNvPr>
            <p:cNvSpPr/>
            <p:nvPr/>
          </p:nvSpPr>
          <p:spPr>
            <a:xfrm>
              <a:off x="864300" y="1439914"/>
              <a:ext cx="264875" cy="264871"/>
            </a:xfrm>
            <a:prstGeom prst="arc">
              <a:avLst>
                <a:gd name="adj1" fmla="val 12399306"/>
                <a:gd name="adj2" fmla="val 3301800"/>
              </a:avLst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47" name="Graphic 43">
              <a:extLst>
                <a:ext uri="{FF2B5EF4-FFF2-40B4-BE49-F238E27FC236}">
                  <a16:creationId xmlns:a16="http://schemas.microsoft.com/office/drawing/2014/main" id="{9FB5760F-862F-4D9D-2896-A1F4BB777ECE}"/>
                </a:ext>
              </a:extLst>
            </p:cNvPr>
            <p:cNvSpPr/>
            <p:nvPr/>
          </p:nvSpPr>
          <p:spPr>
            <a:xfrm>
              <a:off x="928801" y="1504413"/>
              <a:ext cx="135872" cy="135872"/>
            </a:xfrm>
            <a:custGeom>
              <a:avLst/>
              <a:gdLst>
                <a:gd name="csX0" fmla="*/ 67936 w 135872"/>
                <a:gd name="csY0" fmla="*/ 0 h 135872"/>
                <a:gd name="csX1" fmla="*/ 0 w 135872"/>
                <a:gd name="csY1" fmla="*/ 67936 h 135872"/>
                <a:gd name="csX2" fmla="*/ 67936 w 135872"/>
                <a:gd name="csY2" fmla="*/ 135872 h 135872"/>
                <a:gd name="csX3" fmla="*/ 135872 w 135872"/>
                <a:gd name="csY3" fmla="*/ 67936 h 135872"/>
                <a:gd name="csX4" fmla="*/ 67936 w 135872"/>
                <a:gd name="csY4" fmla="*/ 0 h 135872"/>
                <a:gd name="csX5" fmla="*/ 67936 w 135872"/>
                <a:gd name="csY5" fmla="*/ 118888 h 135872"/>
                <a:gd name="csX6" fmla="*/ 16984 w 135872"/>
                <a:gd name="csY6" fmla="*/ 67936 h 135872"/>
                <a:gd name="csX7" fmla="*/ 67936 w 135872"/>
                <a:gd name="csY7" fmla="*/ 16984 h 135872"/>
                <a:gd name="csX8" fmla="*/ 118888 w 135872"/>
                <a:gd name="csY8" fmla="*/ 67936 h 135872"/>
                <a:gd name="csX9" fmla="*/ 67936 w 135872"/>
                <a:gd name="csY9" fmla="*/ 118888 h 135872"/>
                <a:gd name="csX10" fmla="*/ 90581 w 135872"/>
                <a:gd name="csY10" fmla="*/ 56613 h 135872"/>
                <a:gd name="csX11" fmla="*/ 90581 w 135872"/>
                <a:gd name="csY11" fmla="*/ 79259 h 135872"/>
                <a:gd name="csX12" fmla="*/ 79259 w 135872"/>
                <a:gd name="csY12" fmla="*/ 90581 h 135872"/>
                <a:gd name="csX13" fmla="*/ 56613 w 135872"/>
                <a:gd name="csY13" fmla="*/ 90581 h 135872"/>
                <a:gd name="csX14" fmla="*/ 45291 w 135872"/>
                <a:gd name="csY14" fmla="*/ 79259 h 135872"/>
                <a:gd name="csX15" fmla="*/ 45291 w 135872"/>
                <a:gd name="csY15" fmla="*/ 56613 h 135872"/>
                <a:gd name="csX16" fmla="*/ 56613 w 135872"/>
                <a:gd name="csY16" fmla="*/ 45291 h 135872"/>
                <a:gd name="csX17" fmla="*/ 79259 w 135872"/>
                <a:gd name="csY17" fmla="*/ 45291 h 135872"/>
                <a:gd name="csX18" fmla="*/ 90581 w 135872"/>
                <a:gd name="csY18" fmla="*/ 56613 h 13587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135872" h="135872">
                  <a:moveTo>
                    <a:pt x="67936" y="0"/>
                  </a:moveTo>
                  <a:cubicBezTo>
                    <a:pt x="30475" y="0"/>
                    <a:pt x="0" y="30475"/>
                    <a:pt x="0" y="67936"/>
                  </a:cubicBezTo>
                  <a:cubicBezTo>
                    <a:pt x="0" y="105397"/>
                    <a:pt x="30475" y="135872"/>
                    <a:pt x="67936" y="135872"/>
                  </a:cubicBezTo>
                  <a:cubicBezTo>
                    <a:pt x="105397" y="135872"/>
                    <a:pt x="135872" y="105397"/>
                    <a:pt x="135872" y="67936"/>
                  </a:cubicBezTo>
                  <a:cubicBezTo>
                    <a:pt x="135872" y="30475"/>
                    <a:pt x="105397" y="0"/>
                    <a:pt x="67936" y="0"/>
                  </a:cubicBezTo>
                  <a:close/>
                  <a:moveTo>
                    <a:pt x="67936" y="118888"/>
                  </a:moveTo>
                  <a:cubicBezTo>
                    <a:pt x="39844" y="118888"/>
                    <a:pt x="16984" y="96028"/>
                    <a:pt x="16984" y="67936"/>
                  </a:cubicBezTo>
                  <a:cubicBezTo>
                    <a:pt x="16984" y="39844"/>
                    <a:pt x="39844" y="16984"/>
                    <a:pt x="67936" y="16984"/>
                  </a:cubicBezTo>
                  <a:cubicBezTo>
                    <a:pt x="96028" y="16984"/>
                    <a:pt x="118888" y="39844"/>
                    <a:pt x="118888" y="67936"/>
                  </a:cubicBezTo>
                  <a:cubicBezTo>
                    <a:pt x="118888" y="96028"/>
                    <a:pt x="96028" y="118888"/>
                    <a:pt x="67936" y="118888"/>
                  </a:cubicBezTo>
                  <a:close/>
                  <a:moveTo>
                    <a:pt x="90581" y="56613"/>
                  </a:moveTo>
                  <a:lnTo>
                    <a:pt x="90581" y="79259"/>
                  </a:lnTo>
                  <a:cubicBezTo>
                    <a:pt x="90581" y="85514"/>
                    <a:pt x="85514" y="90581"/>
                    <a:pt x="79259" y="90581"/>
                  </a:cubicBezTo>
                  <a:lnTo>
                    <a:pt x="56613" y="90581"/>
                  </a:lnTo>
                  <a:cubicBezTo>
                    <a:pt x="50358" y="90581"/>
                    <a:pt x="45291" y="85514"/>
                    <a:pt x="45291" y="79259"/>
                  </a:cubicBezTo>
                  <a:lnTo>
                    <a:pt x="45291" y="56613"/>
                  </a:lnTo>
                  <a:cubicBezTo>
                    <a:pt x="45291" y="50358"/>
                    <a:pt x="50358" y="45291"/>
                    <a:pt x="56613" y="45291"/>
                  </a:cubicBezTo>
                  <a:lnTo>
                    <a:pt x="79259" y="45291"/>
                  </a:lnTo>
                  <a:cubicBezTo>
                    <a:pt x="85514" y="45291"/>
                    <a:pt x="90581" y="50358"/>
                    <a:pt x="90581" y="56613"/>
                  </a:cubicBezTo>
                  <a:close/>
                </a:path>
              </a:pathLst>
            </a:custGeom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8900000" scaled="1"/>
            </a:gradFill>
            <a:ln w="124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fr-FR" dirty="0"/>
            </a:p>
          </p:txBody>
        </p:sp>
      </p:grpSp>
      <p:sp>
        <p:nvSpPr>
          <p:cNvPr id="213" name="Arc 212">
            <a:extLst>
              <a:ext uri="{FF2B5EF4-FFF2-40B4-BE49-F238E27FC236}">
                <a16:creationId xmlns:a16="http://schemas.microsoft.com/office/drawing/2014/main" id="{CC951794-6C4B-A022-547E-2FA725C94CB6}"/>
              </a:ext>
            </a:extLst>
          </p:cNvPr>
          <p:cNvSpPr/>
          <p:nvPr/>
        </p:nvSpPr>
        <p:spPr>
          <a:xfrm>
            <a:off x="689289" y="1488916"/>
            <a:ext cx="927062" cy="927062"/>
          </a:xfrm>
          <a:prstGeom prst="arc">
            <a:avLst>
              <a:gd name="adj1" fmla="val 16199989"/>
              <a:gd name="adj2" fmla="val 0"/>
            </a:avLst>
          </a:prstGeom>
          <a:ln w="44450" cap="rnd">
            <a:gradFill>
              <a:gsLst>
                <a:gs pos="0">
                  <a:schemeClr val="accent3">
                    <a:lumMod val="20000"/>
                    <a:lumOff val="80000"/>
                    <a:alpha val="34000"/>
                  </a:schemeClr>
                </a:gs>
                <a:gs pos="100000">
                  <a:schemeClr val="bg1">
                    <a:lumMod val="85000"/>
                    <a:alpha val="52000"/>
                  </a:schemeClr>
                </a:gs>
              </a:gsLst>
              <a:lin ang="5400000" scaled="1"/>
            </a:gra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2A449721-F36A-AA26-B514-440AFC94AF8D}"/>
              </a:ext>
            </a:extLst>
          </p:cNvPr>
          <p:cNvCxnSpPr>
            <a:cxnSpLocks/>
          </p:cNvCxnSpPr>
          <p:nvPr/>
        </p:nvCxnSpPr>
        <p:spPr>
          <a:xfrm flipV="1">
            <a:off x="1142752" y="1761582"/>
            <a:ext cx="7491" cy="114293"/>
          </a:xfrm>
          <a:prstGeom prst="line">
            <a:avLst/>
          </a:prstGeom>
          <a:ln cap="rnd">
            <a:solidFill>
              <a:schemeClr val="accent3">
                <a:lumMod val="20000"/>
                <a:lumOff val="80000"/>
              </a:schemeClr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A30034F-E31A-5BB5-B3C2-D159CA0527FF}"/>
              </a:ext>
            </a:extLst>
          </p:cNvPr>
          <p:cNvCxnSpPr>
            <a:cxnSpLocks/>
          </p:cNvCxnSpPr>
          <p:nvPr/>
        </p:nvCxnSpPr>
        <p:spPr>
          <a:xfrm flipV="1">
            <a:off x="1147140" y="1711188"/>
            <a:ext cx="241301" cy="164687"/>
          </a:xfrm>
          <a:prstGeom prst="line">
            <a:avLst/>
          </a:prstGeom>
          <a:ln cap="rnd">
            <a:solidFill>
              <a:schemeClr val="accent3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3" name="Rectangle: Rounded Corners 222">
            <a:extLst>
              <a:ext uri="{FF2B5EF4-FFF2-40B4-BE49-F238E27FC236}">
                <a16:creationId xmlns:a16="http://schemas.microsoft.com/office/drawing/2014/main" id="{DBFF91EB-F47D-E93F-F91C-29B7097C995E}"/>
              </a:ext>
            </a:extLst>
          </p:cNvPr>
          <p:cNvSpPr>
            <a:spLocks/>
          </p:cNvSpPr>
          <p:nvPr/>
        </p:nvSpPr>
        <p:spPr>
          <a:xfrm>
            <a:off x="2664449" y="1325785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sp>
        <p:nvSpPr>
          <p:cNvPr id="224" name="Rectangle: Rounded Corners 223">
            <a:extLst>
              <a:ext uri="{FF2B5EF4-FFF2-40B4-BE49-F238E27FC236}">
                <a16:creationId xmlns:a16="http://schemas.microsoft.com/office/drawing/2014/main" id="{B08BEC4B-F0AA-0F09-2361-9B382F7815CE}"/>
              </a:ext>
            </a:extLst>
          </p:cNvPr>
          <p:cNvSpPr>
            <a:spLocks/>
          </p:cNvSpPr>
          <p:nvPr/>
        </p:nvSpPr>
        <p:spPr>
          <a:xfrm>
            <a:off x="2664449" y="2977139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BFA17DDD-681D-2A67-F7F4-368B63FDFA82}"/>
              </a:ext>
            </a:extLst>
          </p:cNvPr>
          <p:cNvSpPr>
            <a:spLocks/>
          </p:cNvSpPr>
          <p:nvPr/>
        </p:nvSpPr>
        <p:spPr>
          <a:xfrm>
            <a:off x="4164449" y="1325785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Circular Std Light"/>
            </a:endParaRP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id="{5B327AC8-DB28-90AA-72CF-63C4331523ED}"/>
              </a:ext>
            </a:extLst>
          </p:cNvPr>
          <p:cNvSpPr>
            <a:spLocks/>
          </p:cNvSpPr>
          <p:nvPr/>
        </p:nvSpPr>
        <p:spPr>
          <a:xfrm>
            <a:off x="4164449" y="2977139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Circular Std Light"/>
            </a:endParaRPr>
          </a:p>
        </p:txBody>
      </p:sp>
      <p:sp>
        <p:nvSpPr>
          <p:cNvPr id="227" name="Rectangle: Rounded Corners 226">
            <a:extLst>
              <a:ext uri="{FF2B5EF4-FFF2-40B4-BE49-F238E27FC236}">
                <a16:creationId xmlns:a16="http://schemas.microsoft.com/office/drawing/2014/main" id="{F648EF8B-66B0-0CAB-30AF-EAAEC36CA707}"/>
              </a:ext>
            </a:extLst>
          </p:cNvPr>
          <p:cNvSpPr>
            <a:spLocks/>
          </p:cNvSpPr>
          <p:nvPr/>
        </p:nvSpPr>
        <p:spPr>
          <a:xfrm>
            <a:off x="5664449" y="1325785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1E46606E-BD37-525E-CD3B-5E41314F6C47}"/>
              </a:ext>
            </a:extLst>
          </p:cNvPr>
          <p:cNvSpPr>
            <a:spLocks/>
          </p:cNvSpPr>
          <p:nvPr/>
        </p:nvSpPr>
        <p:spPr>
          <a:xfrm>
            <a:off x="5664449" y="2977139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Circular Std Light"/>
            </a:endParaRPr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576E7270-4D86-F6B8-16CF-90EF2FF6347E}"/>
              </a:ext>
            </a:extLst>
          </p:cNvPr>
          <p:cNvSpPr>
            <a:spLocks/>
          </p:cNvSpPr>
          <p:nvPr/>
        </p:nvSpPr>
        <p:spPr>
          <a:xfrm>
            <a:off x="7164449" y="1325785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rcular Std Light"/>
              <a:ea typeface="+mn-ea"/>
              <a:cs typeface="+mn-cs"/>
            </a:endParaRPr>
          </a:p>
        </p:txBody>
      </p:sp>
      <p:sp>
        <p:nvSpPr>
          <p:cNvPr id="230" name="Rectangle: Rounded Corners 229">
            <a:extLst>
              <a:ext uri="{FF2B5EF4-FFF2-40B4-BE49-F238E27FC236}">
                <a16:creationId xmlns:a16="http://schemas.microsoft.com/office/drawing/2014/main" id="{CC78F4F1-0BD3-A729-A246-1A5B63F9A864}"/>
              </a:ext>
            </a:extLst>
          </p:cNvPr>
          <p:cNvSpPr>
            <a:spLocks/>
          </p:cNvSpPr>
          <p:nvPr/>
        </p:nvSpPr>
        <p:spPr>
          <a:xfrm>
            <a:off x="7164449" y="2977139"/>
            <a:ext cx="1440000" cy="1088939"/>
          </a:xfrm>
          <a:prstGeom prst="roundRect">
            <a:avLst>
              <a:gd name="adj" fmla="val 8549"/>
            </a:avLst>
          </a:prstGeom>
          <a:solidFill>
            <a:schemeClr val="bg1">
              <a:alpha val="1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Circular Std Light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8C09D704-157C-CB46-B946-B10FAFF84599}"/>
              </a:ext>
            </a:extLst>
          </p:cNvPr>
          <p:cNvSpPr txBox="1">
            <a:spLocks/>
          </p:cNvSpPr>
          <p:nvPr/>
        </p:nvSpPr>
        <p:spPr>
          <a:xfrm>
            <a:off x="2779280" y="1529550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77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EF5A61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EF5A61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D8993719-50A7-537F-7A4B-0CD3865313A2}"/>
              </a:ext>
            </a:extLst>
          </p:cNvPr>
          <p:cNvSpPr txBox="1">
            <a:spLocks/>
          </p:cNvSpPr>
          <p:nvPr/>
        </p:nvSpPr>
        <p:spPr>
          <a:xfrm>
            <a:off x="2781016" y="2006686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ont en emploi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E51F400-6C93-17DF-0482-FC502D766C1B}"/>
              </a:ext>
            </a:extLst>
          </p:cNvPr>
          <p:cNvSpPr txBox="1">
            <a:spLocks/>
          </p:cNvSpPr>
          <p:nvPr/>
        </p:nvSpPr>
        <p:spPr>
          <a:xfrm>
            <a:off x="4279634" y="1529550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45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EF5A61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EF5A61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380F3532-1BC4-074D-E1A3-660D05CC3576}"/>
              </a:ext>
            </a:extLst>
          </p:cNvPr>
          <p:cNvSpPr txBox="1">
            <a:spLocks/>
          </p:cNvSpPr>
          <p:nvPr/>
        </p:nvSpPr>
        <p:spPr>
          <a:xfrm>
            <a:off x="4280181" y="2006686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e CDI et 34%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e cadres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807687A3-45E3-C6CD-9919-8F80175A9A6B}"/>
              </a:ext>
            </a:extLst>
          </p:cNvPr>
          <p:cNvSpPr txBox="1">
            <a:spLocks/>
          </p:cNvSpPr>
          <p:nvPr/>
        </p:nvSpPr>
        <p:spPr>
          <a:xfrm>
            <a:off x="4280181" y="1448758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28C743CD-38A5-B5A7-DEE3-41353D207A53}"/>
              </a:ext>
            </a:extLst>
          </p:cNvPr>
          <p:cNvSpPr txBox="1">
            <a:spLocks/>
          </p:cNvSpPr>
          <p:nvPr/>
        </p:nvSpPr>
        <p:spPr>
          <a:xfrm>
            <a:off x="5779633" y="1529550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57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EF5A61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EF5A61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C22360A8-10C9-D8FC-613E-84B89F8615A8}"/>
              </a:ext>
            </a:extLst>
          </p:cNvPr>
          <p:cNvSpPr txBox="1">
            <a:spLocks/>
          </p:cNvSpPr>
          <p:nvPr/>
        </p:nvSpPr>
        <p:spPr>
          <a:xfrm>
            <a:off x="5780180" y="2006686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ans la même entreprise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A2C9385-4B54-7A5F-DAC2-1031AF446F73}"/>
              </a:ext>
            </a:extLst>
          </p:cNvPr>
          <p:cNvSpPr txBox="1">
            <a:spLocks/>
          </p:cNvSpPr>
          <p:nvPr/>
        </p:nvSpPr>
        <p:spPr>
          <a:xfrm>
            <a:off x="5780180" y="1448758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D25A18F4-9EF6-7B73-5BD9-AD4D55865A8C}"/>
              </a:ext>
            </a:extLst>
          </p:cNvPr>
          <p:cNvSpPr txBox="1">
            <a:spLocks/>
          </p:cNvSpPr>
          <p:nvPr/>
        </p:nvSpPr>
        <p:spPr>
          <a:xfrm>
            <a:off x="2779280" y="3180904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84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7850DC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7850DC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14D6C270-BB22-9D2D-E482-A1968A524D79}"/>
              </a:ext>
            </a:extLst>
          </p:cNvPr>
          <p:cNvSpPr txBox="1">
            <a:spLocks/>
          </p:cNvSpPr>
          <p:nvPr/>
        </p:nvSpPr>
        <p:spPr>
          <a:xfrm>
            <a:off x="2781016" y="3658040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rcular Pro Black Italic" panose="020B0A04020101010102" pitchFamily="34" charset="0"/>
                <a:ea typeface="Circular Std Light" panose="020B0404020101020102" pitchFamily="34" charset="0"/>
                <a:cs typeface="Circular Pro Black Italic" panose="020B0A04020101010102" pitchFamily="34" charset="0"/>
              </a:rPr>
              <a:t>Sont en emploi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AD46D898-DE85-03A1-8454-59B3A9FE0AF6}"/>
              </a:ext>
            </a:extLst>
          </p:cNvPr>
          <p:cNvSpPr txBox="1">
            <a:spLocks/>
          </p:cNvSpPr>
          <p:nvPr/>
        </p:nvSpPr>
        <p:spPr>
          <a:xfrm>
            <a:off x="4279634" y="3180904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61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7850DC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7850DC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DA918BE-2B47-9F63-98B5-EDE69DF8B1F3}"/>
              </a:ext>
            </a:extLst>
          </p:cNvPr>
          <p:cNvSpPr txBox="1">
            <a:spLocks/>
          </p:cNvSpPr>
          <p:nvPr/>
        </p:nvSpPr>
        <p:spPr>
          <a:xfrm>
            <a:off x="4280181" y="3658040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e CDI et 42% </a:t>
            </a:r>
            <a:b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</a:b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e cadres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2FB52804-2EB4-049F-2A2E-39934356F24A}"/>
              </a:ext>
            </a:extLst>
          </p:cNvPr>
          <p:cNvSpPr txBox="1">
            <a:spLocks/>
          </p:cNvSpPr>
          <p:nvPr/>
        </p:nvSpPr>
        <p:spPr>
          <a:xfrm>
            <a:off x="4280181" y="3100112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ED4022EB-1ABE-F298-A470-ED3036D36C38}"/>
              </a:ext>
            </a:extLst>
          </p:cNvPr>
          <p:cNvSpPr txBox="1">
            <a:spLocks/>
          </p:cNvSpPr>
          <p:nvPr/>
        </p:nvSpPr>
        <p:spPr>
          <a:xfrm>
            <a:off x="7279633" y="1529550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80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EF5A61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EF5A61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C0DBE33F-0C6A-8DCB-692B-004CC073162E}"/>
              </a:ext>
            </a:extLst>
          </p:cNvPr>
          <p:cNvSpPr txBox="1">
            <a:spLocks/>
          </p:cNvSpPr>
          <p:nvPr/>
        </p:nvSpPr>
        <p:spPr>
          <a:xfrm>
            <a:off x="7280180" y="2006686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ans une entreprise d’une branche d’Atlas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3CA38413-624D-8DFF-B0BF-C4D60C00DBF3}"/>
              </a:ext>
            </a:extLst>
          </p:cNvPr>
          <p:cNvSpPr txBox="1">
            <a:spLocks/>
          </p:cNvSpPr>
          <p:nvPr/>
        </p:nvSpPr>
        <p:spPr>
          <a:xfrm>
            <a:off x="7280180" y="1448758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00212FD-E96C-1C9B-5990-8C4269A801A4}"/>
              </a:ext>
            </a:extLst>
          </p:cNvPr>
          <p:cNvSpPr txBox="1">
            <a:spLocks/>
          </p:cNvSpPr>
          <p:nvPr/>
        </p:nvSpPr>
        <p:spPr>
          <a:xfrm>
            <a:off x="5779633" y="3180904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42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7850DC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7850DC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FE2131E0-C509-9B16-3768-211F011CED35}"/>
              </a:ext>
            </a:extLst>
          </p:cNvPr>
          <p:cNvSpPr txBox="1">
            <a:spLocks/>
          </p:cNvSpPr>
          <p:nvPr/>
        </p:nvSpPr>
        <p:spPr>
          <a:xfrm>
            <a:off x="5780180" y="3658040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ans la même entreprise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C0986BC8-F540-B8DB-3690-D2D358EEB2A1}"/>
              </a:ext>
            </a:extLst>
          </p:cNvPr>
          <p:cNvSpPr txBox="1">
            <a:spLocks/>
          </p:cNvSpPr>
          <p:nvPr/>
        </p:nvSpPr>
        <p:spPr>
          <a:xfrm>
            <a:off x="5780180" y="3100112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6CDF3A44-E887-772C-5669-1B830AA1CA76}"/>
              </a:ext>
            </a:extLst>
          </p:cNvPr>
          <p:cNvSpPr txBox="1">
            <a:spLocks/>
          </p:cNvSpPr>
          <p:nvPr/>
        </p:nvSpPr>
        <p:spPr>
          <a:xfrm>
            <a:off x="7279633" y="3180904"/>
            <a:ext cx="120963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1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73</a:t>
            </a:r>
            <a:r>
              <a:rPr kumimoji="0" lang="fr-FR" sz="1800" b="0" i="1" u="none" strike="noStrike" kern="1200" cap="none" spc="0" normalizeH="0" baseline="0" noProof="1">
                <a:ln>
                  <a:noFill/>
                </a:ln>
                <a:solidFill>
                  <a:srgbClr val="7850DC">
                    <a:lumMod val="60000"/>
                    <a:lumOff val="40000"/>
                  </a:srgbClr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Circular Std Bold" panose="020B0804020101010102" pitchFamily="34" charset="0"/>
              </a:rPr>
              <a:t>%</a:t>
            </a:r>
            <a:endParaRPr kumimoji="0" lang="fr-FR" sz="3200" b="0" i="1" u="none" strike="noStrike" kern="1200" cap="none" spc="0" normalizeH="0" baseline="0" noProof="1">
              <a:ln>
                <a:noFill/>
              </a:ln>
              <a:solidFill>
                <a:srgbClr val="7850DC">
                  <a:lumMod val="60000"/>
                  <a:lumOff val="40000"/>
                </a:srgbClr>
              </a:solidFill>
              <a:effectLst/>
              <a:uLnTx/>
              <a:uFillTx/>
              <a:latin typeface="Rift Demi" panose="00000500000000000000" pitchFamily="50" charset="0"/>
              <a:ea typeface="+mn-ea"/>
              <a:cs typeface="Circular Std Bold" panose="020B0804020101010102" pitchFamily="34" charset="0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FAAA5C94-47B1-DD35-6123-AA46D9E079AE}"/>
              </a:ext>
            </a:extLst>
          </p:cNvPr>
          <p:cNvSpPr txBox="1">
            <a:spLocks/>
          </p:cNvSpPr>
          <p:nvPr/>
        </p:nvSpPr>
        <p:spPr>
          <a:xfrm>
            <a:off x="7280180" y="3658040"/>
            <a:ext cx="1208538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Circular Std Light" panose="020B0404020101020102" pitchFamily="34" charset="0"/>
                <a:cs typeface="Circular Std Light" panose="020B0404020101020102" pitchFamily="34" charset="0"/>
              </a:rPr>
              <a:t>Dans une entreprise d’une branche d’Atla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81F0D6C0-DB02-590D-A4BF-BE0BC3FA0A66}"/>
              </a:ext>
            </a:extLst>
          </p:cNvPr>
          <p:cNvSpPr txBox="1">
            <a:spLocks/>
          </p:cNvSpPr>
          <p:nvPr/>
        </p:nvSpPr>
        <p:spPr>
          <a:xfrm>
            <a:off x="7280180" y="3100112"/>
            <a:ext cx="1208538" cy="161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/>
                <a:ea typeface="Circular Std Light" panose="020B0404020101020102" pitchFamily="34" charset="0"/>
                <a:cs typeface="Circular Std Light" panose="020B0404020101020102" pitchFamily="34" charset="0"/>
              </a:rPr>
              <a:t>Dont</a:t>
            </a: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4F298E41-32C5-D4C1-19AA-B2A28B1B57D0}"/>
              </a:ext>
            </a:extLst>
          </p:cNvPr>
          <p:cNvSpPr/>
          <p:nvPr/>
        </p:nvSpPr>
        <p:spPr>
          <a:xfrm>
            <a:off x="3870400" y="3445286"/>
            <a:ext cx="152644" cy="1526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54" name="Graphic 253">
            <a:extLst>
              <a:ext uri="{FF2B5EF4-FFF2-40B4-BE49-F238E27FC236}">
                <a16:creationId xmlns:a16="http://schemas.microsoft.com/office/drawing/2014/main" id="{3A6D6641-4272-CCC7-0300-FD355DFA978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2722" y="3467608"/>
            <a:ext cx="108000" cy="108000"/>
          </a:xfrm>
          <a:prstGeom prst="rect">
            <a:avLst/>
          </a:prstGeom>
        </p:spPr>
      </p:pic>
      <p:sp>
        <p:nvSpPr>
          <p:cNvPr id="255" name="Oval 254">
            <a:extLst>
              <a:ext uri="{FF2B5EF4-FFF2-40B4-BE49-F238E27FC236}">
                <a16:creationId xmlns:a16="http://schemas.microsoft.com/office/drawing/2014/main" id="{6CF0C359-EBCD-71F9-5200-AE49540046D5}"/>
              </a:ext>
            </a:extLst>
          </p:cNvPr>
          <p:cNvSpPr/>
          <p:nvPr/>
        </p:nvSpPr>
        <p:spPr>
          <a:xfrm>
            <a:off x="3870400" y="1793932"/>
            <a:ext cx="152644" cy="1526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256" name="Graphic 255">
            <a:extLst>
              <a:ext uri="{FF2B5EF4-FFF2-40B4-BE49-F238E27FC236}">
                <a16:creationId xmlns:a16="http://schemas.microsoft.com/office/drawing/2014/main" id="{F8A67B52-C9FA-1ED7-488A-B5E14300CC5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92722" y="1816254"/>
            <a:ext cx="108000" cy="108000"/>
          </a:xfrm>
          <a:prstGeom prst="rect">
            <a:avLst/>
          </a:prstGeom>
        </p:spPr>
      </p:pic>
      <p:pic>
        <p:nvPicPr>
          <p:cNvPr id="257" name="Graphic 256">
            <a:extLst>
              <a:ext uri="{FF2B5EF4-FFF2-40B4-BE49-F238E27FC236}">
                <a16:creationId xmlns:a16="http://schemas.microsoft.com/office/drawing/2014/main" id="{5D3051CA-84A6-8359-652A-14A44F42DBF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14888" y="3467608"/>
            <a:ext cx="108000" cy="108000"/>
          </a:xfrm>
          <a:prstGeom prst="rect">
            <a:avLst/>
          </a:prstGeom>
        </p:spPr>
      </p:pic>
      <p:pic>
        <p:nvPicPr>
          <p:cNvPr id="258" name="Graphic 257">
            <a:extLst>
              <a:ext uri="{FF2B5EF4-FFF2-40B4-BE49-F238E27FC236}">
                <a16:creationId xmlns:a16="http://schemas.microsoft.com/office/drawing/2014/main" id="{A360A511-6B83-D0DD-0277-B28B0A6B7B4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14888" y="3467608"/>
            <a:ext cx="108000" cy="108000"/>
          </a:xfrm>
          <a:prstGeom prst="rect">
            <a:avLst/>
          </a:prstGeom>
        </p:spPr>
      </p:pic>
      <p:pic>
        <p:nvPicPr>
          <p:cNvPr id="259" name="Graphic 258">
            <a:extLst>
              <a:ext uri="{FF2B5EF4-FFF2-40B4-BE49-F238E27FC236}">
                <a16:creationId xmlns:a16="http://schemas.microsoft.com/office/drawing/2014/main" id="{A91D7CDE-3C53-9677-84C9-756658586AF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14888" y="3467608"/>
            <a:ext cx="108000" cy="108000"/>
          </a:xfrm>
          <a:prstGeom prst="rect">
            <a:avLst/>
          </a:prstGeom>
        </p:spPr>
      </p:pic>
      <p:pic>
        <p:nvPicPr>
          <p:cNvPr id="260" name="Graphic 259">
            <a:extLst>
              <a:ext uri="{FF2B5EF4-FFF2-40B4-BE49-F238E27FC236}">
                <a16:creationId xmlns:a16="http://schemas.microsoft.com/office/drawing/2014/main" id="{375C1D3B-647E-9721-6B17-2CAC03F77F1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14888" y="1816254"/>
            <a:ext cx="108000" cy="108000"/>
          </a:xfrm>
          <a:prstGeom prst="rect">
            <a:avLst/>
          </a:prstGeom>
        </p:spPr>
      </p:pic>
      <p:pic>
        <p:nvPicPr>
          <p:cNvPr id="261" name="Graphic 260">
            <a:extLst>
              <a:ext uri="{FF2B5EF4-FFF2-40B4-BE49-F238E27FC236}">
                <a16:creationId xmlns:a16="http://schemas.microsoft.com/office/drawing/2014/main" id="{0F7726E2-86D9-4BE9-6637-64062F84469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14888" y="1816254"/>
            <a:ext cx="108000" cy="108000"/>
          </a:xfrm>
          <a:prstGeom prst="rect">
            <a:avLst/>
          </a:prstGeom>
        </p:spPr>
      </p:pic>
      <p:pic>
        <p:nvPicPr>
          <p:cNvPr id="262" name="Graphic 261">
            <a:extLst>
              <a:ext uri="{FF2B5EF4-FFF2-40B4-BE49-F238E27FC236}">
                <a16:creationId xmlns:a16="http://schemas.microsoft.com/office/drawing/2014/main" id="{F6BEA1E6-2A3B-201B-1E09-E1CBA955044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14888" y="1816254"/>
            <a:ext cx="108000" cy="1080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64A057A-BCF8-36F2-5264-056255BFA9B8}"/>
              </a:ext>
            </a:extLst>
          </p:cNvPr>
          <p:cNvSpPr txBox="1"/>
          <p:nvPr/>
        </p:nvSpPr>
        <p:spPr>
          <a:xfrm>
            <a:off x="1506004" y="4778631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Bold Italic" panose="020B0804020101010102" pitchFamily="34" charset="0"/>
                <a:ea typeface="Circular Std Light" panose="020B0404020101020102" pitchFamily="34" charset="0"/>
                <a:cs typeface="Circular Std Bold Italic" panose="020B0804020101010102" pitchFamily="34" charset="0"/>
              </a:rPr>
              <a:t>TITRE DE LA PRÉSENT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DFEE2DC-7F73-2099-90E0-C70385DB31D1}"/>
              </a:ext>
            </a:extLst>
          </p:cNvPr>
          <p:cNvSpPr txBox="1"/>
          <p:nvPr/>
        </p:nvSpPr>
        <p:spPr>
          <a:xfrm>
            <a:off x="1506004" y="4901742"/>
            <a:ext cx="4464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800" dirty="0">
                <a:solidFill>
                  <a:schemeClr val="accent1"/>
                </a:solidFill>
                <a:latin typeface="Circular Std Light Italic" panose="020B0404020101020102" pitchFamily="34" charset="0"/>
                <a:ea typeface="Circular Std Light Italic" panose="020B0404020101020102" pitchFamily="34" charset="0"/>
                <a:cs typeface="Circular Std Light Italic" panose="020B0404020101020102" pitchFamily="34" charset="0"/>
              </a:rPr>
              <a:t>XX/03/2026</a:t>
            </a:r>
          </a:p>
        </p:txBody>
      </p:sp>
    </p:spTree>
    <p:extLst>
      <p:ext uri="{BB962C8B-B14F-4D97-AF65-F5344CB8AC3E}">
        <p14:creationId xmlns:p14="http://schemas.microsoft.com/office/powerpoint/2010/main" val="2669070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A4B31FF-3F26-60BC-0592-17C24C310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c 2">
            <a:extLst>
              <a:ext uri="{FF2B5EF4-FFF2-40B4-BE49-F238E27FC236}">
                <a16:creationId xmlns:a16="http://schemas.microsoft.com/office/drawing/2014/main" id="{12C395E6-2155-711F-EB02-3F2E2EB92710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BCB4BE57-23F2-EAD6-035A-EDAF26583910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FF031E6C-154F-EA38-A603-9A8C5BD620E7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E46C73-6B40-E098-7D7A-DD3E1D3F4558}"/>
              </a:ext>
            </a:extLst>
          </p:cNvPr>
          <p:cNvSpPr txBox="1"/>
          <p:nvPr/>
        </p:nvSpPr>
        <p:spPr>
          <a:xfrm>
            <a:off x="1583160" y="1686893"/>
            <a:ext cx="5977680" cy="17697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ift Demi" panose="00000500000000000000" pitchFamily="50" charset="0"/>
                <a:ea typeface="+mn-ea"/>
                <a:cs typeface="+mn-cs"/>
              </a:rPr>
              <a:t>MERCI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E0AAC84-3ED6-082F-2B8B-C8ACF69C0B31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01BDE88-ADB0-71A4-0F00-87C2191695C0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84501FD-9E18-E992-9BCD-BFACD564108B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73959BD-932B-0985-1DAE-6574CA367125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EBE9CB-CFFA-A897-6FFB-3DC8B6A804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3727054"/>
            <a:ext cx="864096" cy="61938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D4261DF-B538-8DFB-30D6-E975C971717D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138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CCD9095-9816-AFF0-E138-36B47E0BD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4A54AEBA-E158-6415-1FCA-12E4D728B1AF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C808ECB4-F590-315A-E2BE-AB04B6E9DE41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50627D1-0C07-B563-97CF-98F734252FED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C5AF94AA-7617-718A-A509-17DBEB4AB417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9E85BB48-EF00-A2F7-9CF7-136895522367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A8BFD0D-5680-8576-493B-FED766DDC095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29244C5-F2F9-9B69-0F4D-261F482F8BAD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FD58932-3D62-3512-CD9F-37F16B3FBB53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016C449-D3E9-D8B3-6906-9D683237BF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4038" y="843558"/>
            <a:ext cx="4022178" cy="4022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785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65E37B-6230-1068-F17C-383A3D96A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EFDAAF1B-4D34-9730-C95E-F6E263AC2A24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6916A060-3154-CC57-E8F9-12ED6EF58639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DDB83770-FFF3-512F-97E5-607DAB58DE3D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5EF671DB-1D6E-BC99-F261-859DFCFF40D7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CC0BC139-2548-3AB5-06EE-21D93DFAEFEF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410857A-C423-2286-68A6-DC114751C989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D0DD2FB-8D15-1458-A2EA-0EC31BD3D97F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1AF6592-EF38-372A-7D48-961F21584AC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A2B5FF2-9FE1-C3DD-4C0A-4D054BB5D1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798" y="843558"/>
            <a:ext cx="3973418" cy="3973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949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447BF7B-6C0B-03A0-BAA9-3DA278EEF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6DBFAADC-2B96-733A-CBB3-CAE734085A0B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DBBE6A00-74E6-B837-76FB-1F0533A1E97D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82A544DD-78A5-DFFA-041F-F243F5D3ECD1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2596BD65-88DE-F804-71CC-D84CC9A8C183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8810A0AA-D177-B0E8-7BFA-8D8DC907FA44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27FBA1E-E234-C014-1AC7-91D65B0AD8FE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E7287BC-1C39-B73B-A6DC-6B08D5771D5E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06AE02D-B842-EC7B-5337-A0D95F8C161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186E426-2484-AED7-7FE3-3A11AFC985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843558"/>
            <a:ext cx="3990445" cy="399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1615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17698E-68EF-8810-E7F7-407E5A31F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0EDAC5CC-9C41-C44F-3676-7E61D0D17684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9F1650B-AE7C-4333-DDDE-382E1881B952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40FD29C4-E236-7314-8682-1A7B18510CD7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662A3C50-AD8E-DDB3-0D1C-A860846CA225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F7E29A6E-A2A5-42EB-DAA6-FA940176D9B8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7BE0398-6568-71D8-2D8C-CBB4EB9B51CB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198921A-4C6F-69A5-0DD2-949C504E08E1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1C21A12-B346-EBE1-48DF-7A9A322A6D6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7648483-E1E9-E3DF-7D3A-4A9F07A69B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798" y="902588"/>
            <a:ext cx="3901410" cy="390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53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38D484-BF42-9EFD-7248-62F5AE843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BD833F75-A4EC-63D6-D04A-C1D563CE5146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F44678B1-9450-279C-F5A8-F1DA768CC450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F1621623-F373-28AD-3214-4BBFA6BB902F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7B89B8C2-24B9-B13D-124F-42ACE772E49A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EC4175EA-8CA5-F377-FCB5-7A62255821C5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D544DFB-5F9B-42CE-E277-B343629A7AE4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F4819C2-59F2-6776-F15E-DDDE4063B7C7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CDDE367-4980-3231-2F45-57CC87608B96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B20AF05-A177-BB19-9030-BBC2FFB229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936104"/>
            <a:ext cx="3795886" cy="379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457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0F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732ABC9-BDB8-A3DB-85CF-7869AFB633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>
            <a:extLst>
              <a:ext uri="{FF2B5EF4-FFF2-40B4-BE49-F238E27FC236}">
                <a16:creationId xmlns:a16="http://schemas.microsoft.com/office/drawing/2014/main" id="{8DD879A3-7B2D-3033-BE30-F85A4789A061}"/>
              </a:ext>
            </a:extLst>
          </p:cNvPr>
          <p:cNvSpPr/>
          <p:nvPr/>
        </p:nvSpPr>
        <p:spPr>
          <a:xfrm>
            <a:off x="1403648" y="-596602"/>
            <a:ext cx="6336704" cy="6336704"/>
          </a:xfrm>
          <a:prstGeom prst="arc">
            <a:avLst>
              <a:gd name="adj1" fmla="val 12692666"/>
              <a:gd name="adj2" fmla="val 8007676"/>
            </a:avLst>
          </a:prstGeom>
          <a:ln w="127000" cap="rnd">
            <a:solidFill>
              <a:schemeClr val="accent2">
                <a:alpha val="2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DCD12298-947B-2E65-8309-4126420A597C}"/>
              </a:ext>
            </a:extLst>
          </p:cNvPr>
          <p:cNvSpPr/>
          <p:nvPr/>
        </p:nvSpPr>
        <p:spPr>
          <a:xfrm>
            <a:off x="6948264" y="1851670"/>
            <a:ext cx="2195736" cy="3291830"/>
          </a:xfrm>
          <a:custGeom>
            <a:avLst/>
            <a:gdLst>
              <a:gd name="csX0" fmla="*/ 387968 w 2195736"/>
              <a:gd name="csY0" fmla="*/ 546 h 3291830"/>
              <a:gd name="csX1" fmla="*/ 445500 w 2195736"/>
              <a:gd name="csY1" fmla="*/ 8776 h 3291830"/>
              <a:gd name="csX2" fmla="*/ 2195736 w 2195736"/>
              <a:gd name="csY2" fmla="*/ 1356221 h 3291830"/>
              <a:gd name="csX3" fmla="*/ 2195736 w 2195736"/>
              <a:gd name="csY3" fmla="*/ 2886351 h 3291830"/>
              <a:gd name="csX4" fmla="*/ 1575917 w 2195736"/>
              <a:gd name="csY4" fmla="*/ 2891058 h 3291830"/>
              <a:gd name="csX5" fmla="*/ 931484 w 2195736"/>
              <a:gd name="csY5" fmla="*/ 3291830 h 3291830"/>
              <a:gd name="csX6" fmla="*/ 488304 w 2195736"/>
              <a:gd name="csY6" fmla="*/ 3291830 h 3291830"/>
              <a:gd name="csX7" fmla="*/ 0 w 2195736"/>
              <a:gd name="csY7" fmla="*/ 683240 h 3291830"/>
              <a:gd name="csX8" fmla="*/ 12254 w 2195736"/>
              <a:gd name="csY8" fmla="*/ 608265 h 3291830"/>
              <a:gd name="csX9" fmla="*/ 334817 w 2195736"/>
              <a:gd name="csY9" fmla="*/ 19098 h 3291830"/>
              <a:gd name="csX10" fmla="*/ 387968 w 2195736"/>
              <a:gd name="csY10" fmla="*/ 546 h 32918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2195736" h="3291830">
                <a:moveTo>
                  <a:pt x="387968" y="546"/>
                </a:moveTo>
                <a:cubicBezTo>
                  <a:pt x="409484" y="-1260"/>
                  <a:pt x="431731" y="1397"/>
                  <a:pt x="445500" y="8776"/>
                </a:cubicBezTo>
                <a:lnTo>
                  <a:pt x="2195736" y="1356221"/>
                </a:lnTo>
                <a:lnTo>
                  <a:pt x="2195736" y="2886351"/>
                </a:lnTo>
                <a:lnTo>
                  <a:pt x="1575917" y="2891058"/>
                </a:lnTo>
                <a:lnTo>
                  <a:pt x="931484" y="3291830"/>
                </a:lnTo>
                <a:lnTo>
                  <a:pt x="488304" y="3291830"/>
                </a:lnTo>
                <a:lnTo>
                  <a:pt x="0" y="683240"/>
                </a:lnTo>
                <a:lnTo>
                  <a:pt x="12254" y="608265"/>
                </a:lnTo>
                <a:lnTo>
                  <a:pt x="334817" y="19098"/>
                </a:lnTo>
                <a:cubicBezTo>
                  <a:pt x="345665" y="8622"/>
                  <a:pt x="366451" y="2353"/>
                  <a:pt x="387968" y="546"/>
                </a:cubicBez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D8FD98E3-EF17-ACAA-71F2-3894B03964C5}"/>
              </a:ext>
            </a:extLst>
          </p:cNvPr>
          <p:cNvSpPr/>
          <p:nvPr/>
        </p:nvSpPr>
        <p:spPr>
          <a:xfrm>
            <a:off x="7236296" y="2283718"/>
            <a:ext cx="1907704" cy="2329392"/>
          </a:xfrm>
          <a:custGeom>
            <a:avLst/>
            <a:gdLst>
              <a:gd name="csX0" fmla="*/ 1163484 w 1907704"/>
              <a:gd name="csY0" fmla="*/ 1606206 h 2329392"/>
              <a:gd name="csX1" fmla="*/ 1122098 w 1907704"/>
              <a:gd name="csY1" fmla="*/ 1627486 h 2329392"/>
              <a:gd name="csX2" fmla="*/ 611236 w 1907704"/>
              <a:gd name="csY2" fmla="*/ 1943188 h 2329392"/>
              <a:gd name="csX3" fmla="*/ 461999 w 1907704"/>
              <a:gd name="csY3" fmla="*/ 2231195 h 2329392"/>
              <a:gd name="csX4" fmla="*/ 1018344 w 1907704"/>
              <a:gd name="csY4" fmla="*/ 1889032 h 2329392"/>
              <a:gd name="csX5" fmla="*/ 1172961 w 1907704"/>
              <a:gd name="csY5" fmla="*/ 1606376 h 2329392"/>
              <a:gd name="csX6" fmla="*/ 1163484 w 1907704"/>
              <a:gd name="csY6" fmla="*/ 1606206 h 2329392"/>
              <a:gd name="csX7" fmla="*/ 226560 w 1907704"/>
              <a:gd name="csY7" fmla="*/ 135354 h 2329392"/>
              <a:gd name="csX8" fmla="*/ 58155 w 1907704"/>
              <a:gd name="csY8" fmla="*/ 457054 h 2329392"/>
              <a:gd name="csX9" fmla="*/ 385381 w 1907704"/>
              <a:gd name="csY9" fmla="*/ 2207057 h 2329392"/>
              <a:gd name="csX10" fmla="*/ 404139 w 1907704"/>
              <a:gd name="csY10" fmla="*/ 2221610 h 2329392"/>
              <a:gd name="csX11" fmla="*/ 565341 w 1907704"/>
              <a:gd name="csY11" fmla="*/ 1911083 h 2329392"/>
              <a:gd name="csX12" fmla="*/ 259698 w 1907704"/>
              <a:gd name="csY12" fmla="*/ 366 h 2329392"/>
              <a:gd name="csX13" fmla="*/ 298209 w 1907704"/>
              <a:gd name="csY13" fmla="*/ 5874 h 2329392"/>
              <a:gd name="csX14" fmla="*/ 1907704 w 1907704"/>
              <a:gd name="csY14" fmla="*/ 1244970 h 2329392"/>
              <a:gd name="csX15" fmla="*/ 1907704 w 1907704"/>
              <a:gd name="csY15" fmla="*/ 1324940 h 2329392"/>
              <a:gd name="csX16" fmla="*/ 279422 w 1907704"/>
              <a:gd name="csY16" fmla="*/ 77670 h 2329392"/>
              <a:gd name="csX17" fmla="*/ 620703 w 1907704"/>
              <a:gd name="csY17" fmla="*/ 1875537 h 2329392"/>
              <a:gd name="csX18" fmla="*/ 1256693 w 1907704"/>
              <a:gd name="csY18" fmla="*/ 1483335 h 2329392"/>
              <a:gd name="csX19" fmla="*/ 1907704 w 1907704"/>
              <a:gd name="csY19" fmla="*/ 1488961 h 2329392"/>
              <a:gd name="csX20" fmla="*/ 1907704 w 1907704"/>
              <a:gd name="csY20" fmla="*/ 1539020 h 2329392"/>
              <a:gd name="csX21" fmla="*/ 1269100 w 1907704"/>
              <a:gd name="csY21" fmla="*/ 1539020 h 2329392"/>
              <a:gd name="csX22" fmla="*/ 1096138 w 1907704"/>
              <a:gd name="csY22" fmla="*/ 1875420 h 2329392"/>
              <a:gd name="csX23" fmla="*/ 1899034 w 1907704"/>
              <a:gd name="csY23" fmla="*/ 1885681 h 2329392"/>
              <a:gd name="csX24" fmla="*/ 1907704 w 1907704"/>
              <a:gd name="csY24" fmla="*/ 1881330 h 2329392"/>
              <a:gd name="csX25" fmla="*/ 1907704 w 1907704"/>
              <a:gd name="csY25" fmla="*/ 1928744 h 2329392"/>
              <a:gd name="csX26" fmla="*/ 1054889 w 1907704"/>
              <a:gd name="csY26" fmla="*/ 1935220 h 2329392"/>
              <a:gd name="csX27" fmla="*/ 432746 w 1907704"/>
              <a:gd name="csY27" fmla="*/ 2322130 h 2329392"/>
              <a:gd name="csX28" fmla="*/ 339664 w 1907704"/>
              <a:gd name="csY28" fmla="*/ 2271885 h 2329392"/>
              <a:gd name="csX29" fmla="*/ 0 w 1907704"/>
              <a:gd name="csY29" fmla="*/ 457348 h 2329392"/>
              <a:gd name="csX30" fmla="*/ 8203 w 1907704"/>
              <a:gd name="csY30" fmla="*/ 407161 h 2329392"/>
              <a:gd name="csX31" fmla="*/ 224120 w 1907704"/>
              <a:gd name="csY31" fmla="*/ 12784 h 2329392"/>
              <a:gd name="csX32" fmla="*/ 259698 w 1907704"/>
              <a:gd name="csY32" fmla="*/ 366 h 232939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907704" h="2329392">
                <a:moveTo>
                  <a:pt x="1163484" y="1606206"/>
                </a:moveTo>
                <a:cubicBezTo>
                  <a:pt x="1150399" y="1610016"/>
                  <a:pt x="1129022" y="1623605"/>
                  <a:pt x="1122098" y="1627486"/>
                </a:cubicBezTo>
                <a:cubicBezTo>
                  <a:pt x="949547" y="1724478"/>
                  <a:pt x="786110" y="1848636"/>
                  <a:pt x="611236" y="1943188"/>
                </a:cubicBezTo>
                <a:lnTo>
                  <a:pt x="461999" y="2231195"/>
                </a:lnTo>
                <a:lnTo>
                  <a:pt x="1018344" y="1889032"/>
                </a:lnTo>
                <a:lnTo>
                  <a:pt x="1172961" y="1606376"/>
                </a:lnTo>
                <a:cubicBezTo>
                  <a:pt x="1171285" y="1604752"/>
                  <a:pt x="1167845" y="1604936"/>
                  <a:pt x="1163484" y="1606206"/>
                </a:cubicBezTo>
                <a:close/>
                <a:moveTo>
                  <a:pt x="226560" y="135354"/>
                </a:moveTo>
                <a:cubicBezTo>
                  <a:pt x="168024" y="240520"/>
                  <a:pt x="99521" y="343480"/>
                  <a:pt x="58155" y="457054"/>
                </a:cubicBezTo>
                <a:cubicBezTo>
                  <a:pt x="168406" y="1040212"/>
                  <a:pt x="278893" y="1623164"/>
                  <a:pt x="385381" y="2207057"/>
                </a:cubicBezTo>
                <a:cubicBezTo>
                  <a:pt x="387616" y="2219258"/>
                  <a:pt x="388116" y="2237222"/>
                  <a:pt x="404139" y="2221610"/>
                </a:cubicBezTo>
                <a:lnTo>
                  <a:pt x="565341" y="1911083"/>
                </a:lnTo>
                <a:close/>
                <a:moveTo>
                  <a:pt x="259698" y="366"/>
                </a:moveTo>
                <a:cubicBezTo>
                  <a:pt x="274101" y="-844"/>
                  <a:pt x="288992" y="935"/>
                  <a:pt x="298209" y="5874"/>
                </a:cubicBezTo>
                <a:lnTo>
                  <a:pt x="1907704" y="1244970"/>
                </a:lnTo>
                <a:lnTo>
                  <a:pt x="1907704" y="1324940"/>
                </a:lnTo>
                <a:lnTo>
                  <a:pt x="279422" y="77670"/>
                </a:lnTo>
                <a:lnTo>
                  <a:pt x="620703" y="1875537"/>
                </a:lnTo>
                <a:lnTo>
                  <a:pt x="1256693" y="1483335"/>
                </a:lnTo>
                <a:lnTo>
                  <a:pt x="1907704" y="1488961"/>
                </a:lnTo>
                <a:lnTo>
                  <a:pt x="1907704" y="1539020"/>
                </a:lnTo>
                <a:lnTo>
                  <a:pt x="1269100" y="1539020"/>
                </a:lnTo>
                <a:lnTo>
                  <a:pt x="1096138" y="1875420"/>
                </a:lnTo>
                <a:lnTo>
                  <a:pt x="1899034" y="1885681"/>
                </a:lnTo>
                <a:lnTo>
                  <a:pt x="1907704" y="1881330"/>
                </a:lnTo>
                <a:lnTo>
                  <a:pt x="1907704" y="1928744"/>
                </a:lnTo>
                <a:lnTo>
                  <a:pt x="1054889" y="1935220"/>
                </a:lnTo>
                <a:lnTo>
                  <a:pt x="432746" y="2322130"/>
                </a:lnTo>
                <a:cubicBezTo>
                  <a:pt x="382353" y="2339712"/>
                  <a:pt x="347367" y="2326276"/>
                  <a:pt x="339664" y="2271885"/>
                </a:cubicBezTo>
                <a:lnTo>
                  <a:pt x="0" y="457348"/>
                </a:lnTo>
                <a:lnTo>
                  <a:pt x="8203" y="407161"/>
                </a:lnTo>
                <a:lnTo>
                  <a:pt x="224120" y="12784"/>
                </a:lnTo>
                <a:cubicBezTo>
                  <a:pt x="231382" y="5772"/>
                  <a:pt x="245296" y="1575"/>
                  <a:pt x="259698" y="36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ACBC794F-4DBB-7EC8-9050-C1C6C8ABE6E0}"/>
              </a:ext>
            </a:extLst>
          </p:cNvPr>
          <p:cNvSpPr/>
          <p:nvPr/>
        </p:nvSpPr>
        <p:spPr>
          <a:xfrm>
            <a:off x="2339752" y="339502"/>
            <a:ext cx="4464496" cy="4464496"/>
          </a:xfrm>
          <a:prstGeom prst="arc">
            <a:avLst>
              <a:gd name="adj1" fmla="val 1169342"/>
              <a:gd name="adj2" fmla="val 17320147"/>
            </a:avLst>
          </a:prstGeom>
          <a:ln w="127000" cap="rnd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25AE35D0-37E7-5E7C-7FB1-037C18FA5E4D}"/>
              </a:ext>
            </a:extLst>
          </p:cNvPr>
          <p:cNvSpPr/>
          <p:nvPr/>
        </p:nvSpPr>
        <p:spPr>
          <a:xfrm>
            <a:off x="467544" y="-1532706"/>
            <a:ext cx="8208912" cy="8208912"/>
          </a:xfrm>
          <a:prstGeom prst="arc">
            <a:avLst>
              <a:gd name="adj1" fmla="val 6468595"/>
              <a:gd name="adj2" fmla="val 20165081"/>
            </a:avLst>
          </a:prstGeom>
          <a:ln w="127000" cap="rnd">
            <a:solidFill>
              <a:schemeClr val="accent2">
                <a:alpha val="3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983D47F-6DDC-1F5A-399B-A2F8E3E2B83E}"/>
              </a:ext>
            </a:extLst>
          </p:cNvPr>
          <p:cNvSpPr/>
          <p:nvPr/>
        </p:nvSpPr>
        <p:spPr>
          <a:xfrm rot="5400000" flipH="1">
            <a:off x="-400251" y="400251"/>
            <a:ext cx="3055268" cy="2254766"/>
          </a:xfrm>
          <a:custGeom>
            <a:avLst/>
            <a:gdLst>
              <a:gd name="csX0" fmla="*/ 3055268 w 3055268"/>
              <a:gd name="csY0" fmla="*/ 2254766 h 2254766"/>
              <a:gd name="csX1" fmla="*/ 3055268 w 3055268"/>
              <a:gd name="csY1" fmla="*/ 2017944 h 2254766"/>
              <a:gd name="csX2" fmla="*/ 445500 w 3055268"/>
              <a:gd name="csY2" fmla="*/ 8776 h 2254766"/>
              <a:gd name="csX3" fmla="*/ 334817 w 3055268"/>
              <a:gd name="csY3" fmla="*/ 19098 h 2254766"/>
              <a:gd name="csX4" fmla="*/ 12254 w 3055268"/>
              <a:gd name="csY4" fmla="*/ 608265 h 2254766"/>
              <a:gd name="csX5" fmla="*/ 0 w 3055268"/>
              <a:gd name="csY5" fmla="*/ 683240 h 2254766"/>
              <a:gd name="csX6" fmla="*/ 294175 w 3055268"/>
              <a:gd name="csY6" fmla="*/ 2254766 h 225476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055268" h="2254766">
                <a:moveTo>
                  <a:pt x="3055268" y="2254766"/>
                </a:moveTo>
                <a:lnTo>
                  <a:pt x="3055268" y="2017944"/>
                </a:lnTo>
                <a:lnTo>
                  <a:pt x="445500" y="8776"/>
                </a:lnTo>
                <a:cubicBezTo>
                  <a:pt x="417961" y="-5982"/>
                  <a:pt x="356514" y="-1853"/>
                  <a:pt x="334817" y="19098"/>
                </a:cubicBezTo>
                <a:lnTo>
                  <a:pt x="12254" y="608265"/>
                </a:lnTo>
                <a:lnTo>
                  <a:pt x="0" y="683240"/>
                </a:lnTo>
                <a:lnTo>
                  <a:pt x="294175" y="2254766"/>
                </a:lnTo>
                <a:close/>
              </a:path>
            </a:pathLst>
          </a:custGeom>
          <a:solidFill>
            <a:schemeClr val="accent1"/>
          </a:solidFill>
          <a:ln w="6486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6D3FB08-870B-0CC1-CFF7-49ABFE46986C}"/>
              </a:ext>
            </a:extLst>
          </p:cNvPr>
          <p:cNvSpPr/>
          <p:nvPr/>
        </p:nvSpPr>
        <p:spPr>
          <a:xfrm rot="5400000" flipH="1">
            <a:off x="-57963" y="757505"/>
            <a:ext cx="2192782" cy="2076856"/>
          </a:xfrm>
          <a:custGeom>
            <a:avLst/>
            <a:gdLst>
              <a:gd name="csX0" fmla="*/ 2105073 w 2192782"/>
              <a:gd name="csY0" fmla="*/ 1539019 h 2076856"/>
              <a:gd name="csX1" fmla="*/ 1931022 w 2192782"/>
              <a:gd name="csY1" fmla="*/ 1869627 h 2076856"/>
              <a:gd name="csX2" fmla="*/ 1899034 w 2192782"/>
              <a:gd name="csY2" fmla="*/ 1885681 h 2076856"/>
              <a:gd name="csX3" fmla="*/ 1096137 w 2192782"/>
              <a:gd name="csY3" fmla="*/ 1875419 h 2076856"/>
              <a:gd name="csX4" fmla="*/ 1269100 w 2192782"/>
              <a:gd name="csY4" fmla="*/ 1539019 h 2076856"/>
              <a:gd name="csX5" fmla="*/ 2124271 w 2192782"/>
              <a:gd name="csY5" fmla="*/ 1490832 h 2076856"/>
              <a:gd name="csX6" fmla="*/ 1256693 w 2192782"/>
              <a:gd name="csY6" fmla="*/ 1483335 h 2076856"/>
              <a:gd name="csX7" fmla="*/ 620702 w 2192782"/>
              <a:gd name="csY7" fmla="*/ 1875537 h 2076856"/>
              <a:gd name="csX8" fmla="*/ 279422 w 2192782"/>
              <a:gd name="csY8" fmla="*/ 77670 h 2076856"/>
              <a:gd name="csX9" fmla="*/ 2192756 w 2192782"/>
              <a:gd name="csY9" fmla="*/ 1491156 h 2076856"/>
              <a:gd name="csX10" fmla="*/ 2182572 w 2192782"/>
              <a:gd name="csY10" fmla="*/ 1456581 h 2076856"/>
              <a:gd name="csX11" fmla="*/ 298209 w 2192782"/>
              <a:gd name="csY11" fmla="*/ 5874 h 2076856"/>
              <a:gd name="csX12" fmla="*/ 224120 w 2192782"/>
              <a:gd name="csY12" fmla="*/ 12784 h 2076856"/>
              <a:gd name="csX13" fmla="*/ 8203 w 2192782"/>
              <a:gd name="csY13" fmla="*/ 407161 h 2076856"/>
              <a:gd name="csX14" fmla="*/ 0 w 2192782"/>
              <a:gd name="csY14" fmla="*/ 457348 h 2076856"/>
              <a:gd name="csX15" fmla="*/ 303156 w 2192782"/>
              <a:gd name="csY15" fmla="*/ 2076856 h 2076856"/>
              <a:gd name="csX16" fmla="*/ 361035 w 2192782"/>
              <a:gd name="csY16" fmla="*/ 2076856 h 2076856"/>
              <a:gd name="csX17" fmla="*/ 58154 w 2192782"/>
              <a:gd name="csY17" fmla="*/ 457054 h 2076856"/>
              <a:gd name="csX18" fmla="*/ 226560 w 2192782"/>
              <a:gd name="csY18" fmla="*/ 135354 h 2076856"/>
              <a:gd name="csX19" fmla="*/ 565341 w 2192782"/>
              <a:gd name="csY19" fmla="*/ 1911083 h 2076856"/>
              <a:gd name="csX20" fmla="*/ 479284 w 2192782"/>
              <a:gd name="csY20" fmla="*/ 2076856 h 2076856"/>
              <a:gd name="csX21" fmla="*/ 541973 w 2192782"/>
              <a:gd name="csY21" fmla="*/ 2076856 h 2076856"/>
              <a:gd name="csX22" fmla="*/ 611236 w 2192782"/>
              <a:gd name="csY22" fmla="*/ 1943187 h 2076856"/>
              <a:gd name="csX23" fmla="*/ 1122098 w 2192782"/>
              <a:gd name="csY23" fmla="*/ 1627485 h 2076856"/>
              <a:gd name="csX24" fmla="*/ 1172961 w 2192782"/>
              <a:gd name="csY24" fmla="*/ 1606376 h 2076856"/>
              <a:gd name="csX25" fmla="*/ 1018344 w 2192782"/>
              <a:gd name="csY25" fmla="*/ 1889032 h 2076856"/>
              <a:gd name="csX26" fmla="*/ 712948 w 2192782"/>
              <a:gd name="csY26" fmla="*/ 2076856 h 2076856"/>
              <a:gd name="csX27" fmla="*/ 827141 w 2192782"/>
              <a:gd name="csY27" fmla="*/ 2076856 h 2076856"/>
              <a:gd name="csX28" fmla="*/ 1054888 w 2192782"/>
              <a:gd name="csY28" fmla="*/ 1935220 h 2076856"/>
              <a:gd name="csX29" fmla="*/ 1960864 w 2192782"/>
              <a:gd name="csY29" fmla="*/ 1928340 h 2076856"/>
              <a:gd name="csX30" fmla="*/ 2184131 w 2192782"/>
              <a:gd name="csY30" fmla="*/ 1526877 h 2076856"/>
              <a:gd name="csX31" fmla="*/ 2192756 w 2192782"/>
              <a:gd name="csY31" fmla="*/ 1491156 h 207685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</a:cxnLst>
            <a:rect l="l" t="t" r="r" b="b"/>
            <a:pathLst>
              <a:path w="2192782" h="2076856">
                <a:moveTo>
                  <a:pt x="2105073" y="1539019"/>
                </a:moveTo>
                <a:lnTo>
                  <a:pt x="1931022" y="1869627"/>
                </a:lnTo>
                <a:lnTo>
                  <a:pt x="1899034" y="1885681"/>
                </a:lnTo>
                <a:lnTo>
                  <a:pt x="1096137" y="1875419"/>
                </a:lnTo>
                <a:lnTo>
                  <a:pt x="1269100" y="1539019"/>
                </a:lnTo>
                <a:close/>
                <a:moveTo>
                  <a:pt x="2124271" y="1490832"/>
                </a:moveTo>
                <a:lnTo>
                  <a:pt x="1256693" y="1483335"/>
                </a:lnTo>
                <a:lnTo>
                  <a:pt x="620702" y="1875537"/>
                </a:lnTo>
                <a:lnTo>
                  <a:pt x="279422" y="77670"/>
                </a:lnTo>
                <a:close/>
                <a:moveTo>
                  <a:pt x="2192756" y="1491156"/>
                </a:moveTo>
                <a:cubicBezTo>
                  <a:pt x="2193090" y="1478918"/>
                  <a:pt x="2190290" y="1466871"/>
                  <a:pt x="2182572" y="1456581"/>
                </a:cubicBezTo>
                <a:lnTo>
                  <a:pt x="298209" y="5874"/>
                </a:lnTo>
                <a:cubicBezTo>
                  <a:pt x="279775" y="-4004"/>
                  <a:pt x="238644" y="-1241"/>
                  <a:pt x="224120" y="12784"/>
                </a:cubicBezTo>
                <a:lnTo>
                  <a:pt x="8203" y="407161"/>
                </a:lnTo>
                <a:lnTo>
                  <a:pt x="0" y="457348"/>
                </a:lnTo>
                <a:lnTo>
                  <a:pt x="303156" y="2076856"/>
                </a:lnTo>
                <a:lnTo>
                  <a:pt x="361035" y="2076856"/>
                </a:lnTo>
                <a:lnTo>
                  <a:pt x="58154" y="457054"/>
                </a:lnTo>
                <a:cubicBezTo>
                  <a:pt x="99521" y="343480"/>
                  <a:pt x="168024" y="240519"/>
                  <a:pt x="226560" y="135354"/>
                </a:cubicBezTo>
                <a:lnTo>
                  <a:pt x="565341" y="1911083"/>
                </a:lnTo>
                <a:lnTo>
                  <a:pt x="479284" y="2076856"/>
                </a:lnTo>
                <a:lnTo>
                  <a:pt x="541973" y="2076856"/>
                </a:lnTo>
                <a:lnTo>
                  <a:pt x="611236" y="1943187"/>
                </a:lnTo>
                <a:cubicBezTo>
                  <a:pt x="786110" y="1848636"/>
                  <a:pt x="949547" y="1724478"/>
                  <a:pt x="1122098" y="1627485"/>
                </a:cubicBezTo>
                <a:cubicBezTo>
                  <a:pt x="1131329" y="1622311"/>
                  <a:pt x="1166257" y="1599879"/>
                  <a:pt x="1172961" y="1606376"/>
                </a:cubicBezTo>
                <a:lnTo>
                  <a:pt x="1018344" y="1889032"/>
                </a:lnTo>
                <a:lnTo>
                  <a:pt x="712948" y="2076856"/>
                </a:lnTo>
                <a:lnTo>
                  <a:pt x="827141" y="2076856"/>
                </a:lnTo>
                <a:lnTo>
                  <a:pt x="1054888" y="1935220"/>
                </a:lnTo>
                <a:lnTo>
                  <a:pt x="1960864" y="1928340"/>
                </a:lnTo>
                <a:lnTo>
                  <a:pt x="2184131" y="1526877"/>
                </a:lnTo>
                <a:cubicBezTo>
                  <a:pt x="2188952" y="1515823"/>
                  <a:pt x="2192422" y="1503394"/>
                  <a:pt x="2192756" y="1491156"/>
                </a:cubicBezTo>
                <a:close/>
              </a:path>
            </a:pathLst>
          </a:custGeom>
          <a:solidFill>
            <a:schemeClr val="accent3"/>
          </a:solidFill>
          <a:ln w="6486" cap="flat">
            <a:noFill/>
            <a:prstDash val="solid"/>
            <a:miter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18DC7A2-F7E0-F73A-2336-70E35852F8C0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1424" y="1116125"/>
            <a:ext cx="601153" cy="1954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1FA4DCD-69AB-01AF-A10A-FC7270C22F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795" y="823577"/>
            <a:ext cx="4052429" cy="405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376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1AD90D_63B0_4E66_8138_57AFCA79019A&quot;,&quot;SourceFullNameMaxLengthReached&quot;:false,&quot;SourceFullName&quot;:&quot;Classeur1&quot;,&quot;LastUpdate&quot;:&quot;2026-03-24 6:08 PM&quot;,&quot;UpdatedBy&quot;:&quot;PC&quot;,&quot;IsLinked&quot;:false,&quot;IsBrokenLink&quot;:false,&quot;Type&quot;:1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A4A1435_DBA5_45B4_B386_0015CE39C3D4&quot;,&quot;SourceFullNameMaxLengthReached&quot;:false,&quot;SourceFullName&quot;:&quot;\\\\inf-file-01\\Directions\\DD\\PÔLE INGE ET DISPOSITIFS\\DEVELOPPEMENT ALTERNANCE\\3 - Données\\05 - Données 2025\\Support évènements Atlas\\20250320 - Bilan - Indicateurs Atlas de l'alternance 2025.xlsx&quot;,&quot;LastUpdate&quot;:&quot;2026-03-24 6:14 PM&quot;,&quot;UpdatedBy&quot;:&quot;PC&quot;,&quot;IsLinked&quot;:false,&quot;IsBrokenLink&quot;:false,&quot;Type&quot;:1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Custom 8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0F64"/>
      </a:accent1>
      <a:accent2>
        <a:srgbClr val="7850DC"/>
      </a:accent2>
      <a:accent3>
        <a:srgbClr val="EF5A61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Custom 8">
      <a:majorFont>
        <a:latin typeface="Rift Demi"/>
        <a:ea typeface=""/>
        <a:cs typeface=""/>
      </a:majorFont>
      <a:minorFont>
        <a:latin typeface="Circular Std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254137A234474A9DA563FA3331163A" ma:contentTypeVersion="15" ma:contentTypeDescription="Crée un document." ma:contentTypeScope="" ma:versionID="8a1ea3c286cdc2176aff5631d13784a6">
  <xsd:schema xmlns:xsd="http://www.w3.org/2001/XMLSchema" xmlns:xs="http://www.w3.org/2001/XMLSchema" xmlns:p="http://schemas.microsoft.com/office/2006/metadata/properties" xmlns:ns2="bd724b11-f43f-450f-b014-34ceac171d31" xmlns:ns3="7bb7693c-da28-47d8-af59-604a0f35d887" targetNamespace="http://schemas.microsoft.com/office/2006/metadata/properties" ma:root="true" ma:fieldsID="e6cf510b980703c107d8707c7cd7c227" ns2:_="" ns3:_="">
    <xsd:import namespace="bd724b11-f43f-450f-b014-34ceac171d31"/>
    <xsd:import namespace="7bb7693c-da28-47d8-af59-604a0f35d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724b11-f43f-450f-b014-34ceac171d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d49b6ef3-b2ae-41b4-baa9-7342a8e6a0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b7693c-da28-47d8-af59-604a0f35d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2b7fd4ec-238d-45df-8ae0-fab9219408e0}" ma:internalName="TaxCatchAll" ma:showField="CatchAllData" ma:web="7bb7693c-da28-47d8-af59-604a0f35d8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bb7693c-da28-47d8-af59-604a0f35d887" xsi:nil="true"/>
    <lcf76f155ced4ddcb4097134ff3c332f xmlns="bd724b11-f43f-450f-b014-34ceac171d3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664F04C-AD0B-4A2D-B5B3-400E3BFD3CD8}"/>
</file>

<file path=customXml/itemProps2.xml><?xml version="1.0" encoding="utf-8"?>
<ds:datastoreItem xmlns:ds="http://schemas.openxmlformats.org/officeDocument/2006/customXml" ds:itemID="{9CD6E31D-C978-4B2D-A8D7-4B0B0564DE0B}"/>
</file>

<file path=customXml/itemProps3.xml><?xml version="1.0" encoding="utf-8"?>
<ds:datastoreItem xmlns:ds="http://schemas.openxmlformats.org/officeDocument/2006/customXml" ds:itemID="{7C2243BB-7970-4001-84B9-4775CFA1D00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59</TotalTime>
  <Words>1837</Words>
  <Application>Microsoft Macintosh PowerPoint</Application>
  <PresentationFormat>Affichage à l'écran (16:9)</PresentationFormat>
  <Paragraphs>349</Paragraphs>
  <Slides>34</Slides>
  <Notes>29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4</vt:i4>
      </vt:variant>
    </vt:vector>
  </HeadingPairs>
  <TitlesOfParts>
    <vt:vector size="45" baseType="lpstr">
      <vt:lpstr>Aptos</vt:lpstr>
      <vt:lpstr>Arial</vt:lpstr>
      <vt:lpstr>Calibri</vt:lpstr>
      <vt:lpstr>Century Gothic</vt:lpstr>
      <vt:lpstr>Circular Pro Black Italic</vt:lpstr>
      <vt:lpstr>Circular Std Bold</vt:lpstr>
      <vt:lpstr>Circular Std Bold Italic</vt:lpstr>
      <vt:lpstr>Circular Std Light</vt:lpstr>
      <vt:lpstr>Circular Std Light Italic</vt:lpstr>
      <vt:lpstr>Rift Demi</vt:lpstr>
      <vt:lpstr>Office The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okeslide</dc:creator>
  <cp:lastModifiedBy>NDJEUDJI Karen</cp:lastModifiedBy>
  <cp:revision>95</cp:revision>
  <dcterms:created xsi:type="dcterms:W3CDTF">2026-03-13T03:40:26Z</dcterms:created>
  <dcterms:modified xsi:type="dcterms:W3CDTF">2026-03-26T12:1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254137A234474A9DA563FA3331163A</vt:lpwstr>
  </property>
</Properties>
</file>